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slideLayouts/slideLayout7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  <p:sldMasterId id="2147483771" r:id="rId5"/>
    <p:sldMasterId id="2147483795" r:id="rId6"/>
    <p:sldMasterId id="2147483806" r:id="rId7"/>
    <p:sldMasterId id="2147483819" r:id="rId8"/>
    <p:sldMasterId id="2147483825" r:id="rId9"/>
    <p:sldMasterId id="2147483831" r:id="rId10"/>
    <p:sldMasterId id="2147483843" r:id="rId11"/>
    <p:sldMasterId id="2147483853" r:id="rId12"/>
    <p:sldMasterId id="2147483902" r:id="rId13"/>
  </p:sldMasterIdLst>
  <p:notesMasterIdLst>
    <p:notesMasterId r:id="rId28"/>
  </p:notesMasterIdLst>
  <p:handoutMasterIdLst>
    <p:handoutMasterId r:id="rId29"/>
  </p:handoutMasterIdLst>
  <p:sldIdLst>
    <p:sldId id="475" r:id="rId14"/>
    <p:sldId id="592" r:id="rId15"/>
    <p:sldId id="607" r:id="rId16"/>
    <p:sldId id="608" r:id="rId17"/>
    <p:sldId id="609" r:id="rId18"/>
    <p:sldId id="610" r:id="rId19"/>
    <p:sldId id="650" r:id="rId20"/>
    <p:sldId id="611" r:id="rId21"/>
    <p:sldId id="651" r:id="rId22"/>
    <p:sldId id="613" r:id="rId23"/>
    <p:sldId id="652" r:id="rId24"/>
    <p:sldId id="648" r:id="rId25"/>
    <p:sldId id="617" r:id="rId26"/>
    <p:sldId id="653" r:id="rId27"/>
  </p:sldIdLst>
  <p:sldSz cx="9144000" cy="6858000" type="screen4x3"/>
  <p:notesSz cx="6799263" cy="9929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sans titre" id="{02CB8FB4-BEC4-42F5-93B5-F8C77B157C3D}">
          <p14:sldIdLst>
            <p14:sldId id="475"/>
            <p14:sldId id="592"/>
            <p14:sldId id="607"/>
            <p14:sldId id="608"/>
            <p14:sldId id="609"/>
            <p14:sldId id="610"/>
            <p14:sldId id="650"/>
            <p14:sldId id="611"/>
            <p14:sldId id="651"/>
            <p14:sldId id="613"/>
            <p14:sldId id="652"/>
            <p14:sldId id="648"/>
            <p14:sldId id="617"/>
            <p14:sldId id="6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8" userDrawn="1">
          <p15:clr>
            <a:srgbClr val="A4A3A4"/>
          </p15:clr>
        </p15:guide>
        <p15:guide id="2" pos="2165" userDrawn="1">
          <p15:clr>
            <a:srgbClr val="A4A3A4"/>
          </p15:clr>
        </p15:guide>
        <p15:guide id="3" orient="horz" pos="3132" userDrawn="1">
          <p15:clr>
            <a:srgbClr val="A4A3A4"/>
          </p15:clr>
        </p15:guide>
        <p15:guide id="4" pos="2146" userDrawn="1">
          <p15:clr>
            <a:srgbClr val="A4A3A4"/>
          </p15:clr>
        </p15:guide>
        <p15:guide id="5" orient="horz" pos="3134">
          <p15:clr>
            <a:srgbClr val="A4A3A4"/>
          </p15:clr>
        </p15:guide>
        <p15:guide id="6" orient="horz" pos="3128">
          <p15:clr>
            <a:srgbClr val="A4A3A4"/>
          </p15:clr>
        </p15:guide>
        <p15:guide id="7" pos="2162">
          <p15:clr>
            <a:srgbClr val="A4A3A4"/>
          </p15:clr>
        </p15:guide>
        <p15:guide id="8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1" autoAdjust="0"/>
    <p:restoredTop sz="92998" autoAdjust="0"/>
  </p:normalViewPr>
  <p:slideViewPr>
    <p:cSldViewPr>
      <p:cViewPr varScale="1">
        <p:scale>
          <a:sx n="73" d="100"/>
          <a:sy n="73" d="100"/>
        </p:scale>
        <p:origin x="1613" y="6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684"/>
    </p:cViewPr>
  </p:sorterViewPr>
  <p:notesViewPr>
    <p:cSldViewPr>
      <p:cViewPr varScale="1">
        <p:scale>
          <a:sx n="78" d="100"/>
          <a:sy n="78" d="100"/>
        </p:scale>
        <p:origin x="5898" y="108"/>
      </p:cViewPr>
      <p:guideLst>
        <p:guide orient="horz" pos="3138"/>
        <p:guide pos="2165"/>
        <p:guide orient="horz" pos="3132"/>
        <p:guide pos="2146"/>
        <p:guide orient="horz" pos="3134"/>
        <p:guide orient="horz" pos="3128"/>
        <p:guide pos="2162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343" y="2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/>
          <a:lstStyle>
            <a:lvl1pPr algn="r">
              <a:defRPr sz="1200"/>
            </a:lvl1pPr>
          </a:lstStyle>
          <a:p>
            <a:fld id="{8BDD06D4-63C6-483D-B70B-12B832237663}" type="datetimeFigureOut">
              <a:rPr lang="fr-FR" smtClean="0"/>
              <a:t>13/05/2026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3" y="9431601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687663" y="9431601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 anchor="b"/>
          <a:lstStyle>
            <a:lvl1pPr algn="r">
              <a:defRPr sz="1200"/>
            </a:lvl1pPr>
          </a:lstStyle>
          <a:p>
            <a:fld id="{6FA9AC1A-41F4-43A1-9DC3-539860A5323E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0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3" y="2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/>
          <a:lstStyle>
            <a:lvl1pPr algn="r">
              <a:defRPr sz="1200"/>
            </a:lvl1pPr>
          </a:lstStyle>
          <a:p>
            <a:fld id="{8F629D63-7E45-4C8C-9969-4A6797531FBC}" type="datetimeFigureOut">
              <a:rPr lang="fr-FR" smtClean="0"/>
              <a:t>13/05/202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29" tIns="45666" rIns="91329" bIns="45666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927" y="4716663"/>
            <a:ext cx="5439410" cy="4468416"/>
          </a:xfrm>
          <a:prstGeom prst="rect">
            <a:avLst/>
          </a:prstGeom>
        </p:spPr>
        <p:txBody>
          <a:bodyPr vert="horz" lIns="91329" tIns="45666" rIns="91329" bIns="45666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3" y="9431601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343" y="9431601"/>
            <a:ext cx="2946347" cy="496490"/>
          </a:xfrm>
          <a:prstGeom prst="rect">
            <a:avLst/>
          </a:prstGeom>
        </p:spPr>
        <p:txBody>
          <a:bodyPr vert="horz" lIns="91329" tIns="45666" rIns="91329" bIns="45666" rtlCol="0" anchor="b"/>
          <a:lstStyle>
            <a:lvl1pPr algn="r">
              <a:defRPr sz="1200"/>
            </a:lvl1pPr>
          </a:lstStyle>
          <a:p>
            <a:fld id="{5748CAED-FD87-4CDE-8F5E-BA8D113FEEFD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0891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0815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0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509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5D127F2-C990-87FF-183D-31484C8AC7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B634BD45-FE52-AE38-8B72-63561091CBA3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1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>
            <a:extLst>
              <a:ext uri="{FF2B5EF4-FFF2-40B4-BE49-F238E27FC236}">
                <a16:creationId xmlns:a16="http://schemas.microsoft.com/office/drawing/2014/main" id="{76B9B4CB-5581-DD1C-227D-A905E70AC5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861497F9-A752-B930-181D-04B9E2C55AC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5596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890CC6-5C7E-BC3D-2D20-38C988D84C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064C50BC-743D-742A-7370-0D5CADDF7667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2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>
            <a:extLst>
              <a:ext uri="{FF2B5EF4-FFF2-40B4-BE49-F238E27FC236}">
                <a16:creationId xmlns:a16="http://schemas.microsoft.com/office/drawing/2014/main" id="{DF7E7C98-7F6F-6F3B-5A52-C22668D046D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740CB855-3D6C-CA25-2E8D-D434D46716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1213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3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8489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F80E6B-2074-4D42-EB00-AA1521D17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1587BDA7-41D1-0CE7-4D34-1C13F3F807F9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14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>
            <a:extLst>
              <a:ext uri="{FF2B5EF4-FFF2-40B4-BE49-F238E27FC236}">
                <a16:creationId xmlns:a16="http://schemas.microsoft.com/office/drawing/2014/main" id="{47D0EBB6-59C8-EA44-8737-263290D5CF3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2D7C575C-5E0C-2787-5CA6-E4443DF145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5375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2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067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673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4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5641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5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6289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6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635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6D95C74-9215-A7E2-D701-0C536BDCA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3AD7A9FC-C001-E26F-3DCD-BA451706E1E0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7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>
            <a:extLst>
              <a:ext uri="{FF2B5EF4-FFF2-40B4-BE49-F238E27FC236}">
                <a16:creationId xmlns:a16="http://schemas.microsoft.com/office/drawing/2014/main" id="{F768BF83-1AF5-0226-B4BB-B10FC60A963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D1A3F97D-10DE-B2A2-01CC-9D60BD7CE9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079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8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950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E4A588A-B2C1-614C-98E0-A757FB5DE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78207DC2-291B-4C20-5296-AA75BCFA722E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34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498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8652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5805" indent="-228576" defTabSz="449217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53991" algn="l"/>
                <a:tab pos="1909569" algn="l"/>
                <a:tab pos="2865147" algn="l"/>
                <a:tab pos="3820725" algn="l"/>
                <a:tab pos="4776303" algn="l"/>
                <a:tab pos="5731881" algn="l"/>
                <a:tab pos="6687459" algn="l"/>
                <a:tab pos="7643037" algn="l"/>
                <a:tab pos="8598614" algn="l"/>
                <a:tab pos="9554192" algn="l"/>
                <a:tab pos="10509771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D5CEA7A-3E98-4303-82AB-9E158F750003}" type="slidenum">
              <a:rPr lang="fr-FR" altLang="fr-FR" sz="1400">
                <a:cs typeface="Segoe UI" pitchFamily="34" charset="0"/>
              </a:rPr>
              <a:pPr eaLnBrk="1" hangingPunct="1">
                <a:spcBef>
                  <a:spcPct val="0"/>
                </a:spcBef>
              </a:pPr>
              <a:t>9</a:t>
            </a:fld>
            <a:endParaRPr lang="fr-FR" altLang="fr-FR" sz="1400">
              <a:cs typeface="Segoe UI" pitchFamily="34" charset="0"/>
            </a:endParaRPr>
          </a:p>
        </p:txBody>
      </p:sp>
      <p:sp>
        <p:nvSpPr>
          <p:cNvPr id="30723" name="Rectangle 1">
            <a:extLst>
              <a:ext uri="{FF2B5EF4-FFF2-40B4-BE49-F238E27FC236}">
                <a16:creationId xmlns:a16="http://schemas.microsoft.com/office/drawing/2014/main" id="{F2E70EC0-D720-EF4F-64CC-C67612A1539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6125"/>
            <a:ext cx="4965700" cy="3724275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6F738B96-FFEB-BEC8-A19E-07E8AF5B9F8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06464" y="4719638"/>
            <a:ext cx="4984750" cy="4465637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938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4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5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4.png"/><Relationship Id="rId4" Type="http://schemas.openxmlformats.org/officeDocument/2006/relationships/tags" Target="../tags/tag34.xml"/><Relationship Id="rId9" Type="http://schemas.openxmlformats.org/officeDocument/2006/relationships/image" Target="../media/image1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59.xml"/><Relationship Id="rId7" Type="http://schemas.openxmlformats.org/officeDocument/2006/relationships/oleObject" Target="../embeddings/oleObject2.bin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4.xml"/><Relationship Id="rId7" Type="http://schemas.openxmlformats.org/officeDocument/2006/relationships/oleObject" Target="../embeddings/oleObject2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image" Target="../media/image14.png"/><Relationship Id="rId4" Type="http://schemas.openxmlformats.org/officeDocument/2006/relationships/tags" Target="../tags/tag70.xml"/><Relationship Id="rId9" Type="http://schemas.openxmlformats.org/officeDocument/2006/relationships/image" Target="../media/image12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.jfif"/><Relationship Id="rId5" Type="http://schemas.openxmlformats.org/officeDocument/2006/relationships/image" Target="../media/image20.png"/><Relationship Id="rId4" Type="http://schemas.openxmlformats.org/officeDocument/2006/relationships/image" Target="../media/image27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9.jfif"/><Relationship Id="rId5" Type="http://schemas.openxmlformats.org/officeDocument/2006/relationships/image" Target="../media/image20.png"/><Relationship Id="rId4" Type="http://schemas.openxmlformats.org/officeDocument/2006/relationships/image" Target="../media/image27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fif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9.jfif"/><Relationship Id="rId5" Type="http://schemas.openxmlformats.org/officeDocument/2006/relationships/image" Target="../media/image20.png"/><Relationship Id="rId4" Type="http://schemas.openxmlformats.org/officeDocument/2006/relationships/image" Target="../media/image27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 userDrawn="1"/>
        </p:nvSpPr>
        <p:spPr>
          <a:xfrm>
            <a:off x="26660" y="2647949"/>
            <a:ext cx="3571875" cy="4210051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ight Triangle 17"/>
          <p:cNvSpPr/>
          <p:nvPr userDrawn="1"/>
        </p:nvSpPr>
        <p:spPr>
          <a:xfrm rot="5400000">
            <a:off x="460047" y="-439796"/>
            <a:ext cx="6858000" cy="7724778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692697"/>
            <a:ext cx="5212080" cy="1089427"/>
          </a:xfrm>
        </p:spPr>
        <p:txBody>
          <a:bodyPr bIns="0" anchor="b"/>
          <a:lstStyle>
            <a:lvl1pPr algn="l">
              <a:defRPr kumimoji="0" lang="en-US" sz="28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9554" y="2618913"/>
            <a:ext cx="3807779" cy="33246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dirty="0">
                <a:solidFill>
                  <a:srgbClr val="69676D"/>
                </a:solidFill>
              </a:rPr>
              <a:t>Réunion lancement - 20 décembre 201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9293092-6B53-45B5-B720-B7B51CBD1DDE}" type="slidenum">
              <a:rPr lang="fr-FR" smtClean="0">
                <a:solidFill>
                  <a:srgbClr val="69676D"/>
                </a:solidFill>
              </a:rPr>
              <a:pPr/>
              <a:t>‹N°›</a:t>
            </a:fld>
            <a:endParaRPr lang="fr-FR" dirty="0">
              <a:solidFill>
                <a:srgbClr val="69676D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32" y="6309320"/>
            <a:ext cx="254574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6975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525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77246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40104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219825" y="220663"/>
            <a:ext cx="1970088" cy="552291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04803" y="220663"/>
            <a:ext cx="5762625" cy="552291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708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664913"/>
            <a:ext cx="8424614" cy="323935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2276873"/>
            <a:ext cx="8424334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600353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2084853"/>
            <a:ext cx="2520000" cy="3840427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084851"/>
            <a:ext cx="2520000" cy="3814349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084851"/>
            <a:ext cx="2520000" cy="3814349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4" y="910403"/>
            <a:ext cx="8424863" cy="719988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08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664913"/>
            <a:ext cx="8424614" cy="323935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4" y="910403"/>
            <a:ext cx="8424863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30" y="2276873"/>
            <a:ext cx="2556471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2276873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2276873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903313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2276873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664913"/>
            <a:ext cx="8424614" cy="323935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4" y="910403"/>
            <a:ext cx="8424863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2276873"/>
            <a:ext cx="5616624" cy="384042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523826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2276873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664913"/>
            <a:ext cx="8424614" cy="323935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4" y="910403"/>
            <a:ext cx="8424863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2276880"/>
            <a:ext cx="5761038" cy="3839633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8905262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336000"/>
            <a:ext cx="1440000" cy="192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852936"/>
            <a:ext cx="8424000" cy="305763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92075" indent="0">
              <a:spcBef>
                <a:spcPts val="500"/>
              </a:spcBef>
              <a:spcAft>
                <a:spcPts val="0"/>
              </a:spcAft>
              <a:buNone/>
              <a:tabLst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0" y="63792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47" y="260648"/>
            <a:ext cx="4680769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57385" y="460708"/>
            <a:ext cx="2010556" cy="154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920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6396849"/>
            <a:ext cx="117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bg1"/>
                </a:solidFill>
              </a:defRPr>
            </a:lvl1pPr>
          </a:lstStyle>
          <a:p>
            <a:fld id="{8A6EA256-1DE8-43D0-9F1D-A5599C72E640}" type="datetimeFigureOut">
              <a:rPr lang="fr-FR" smtClean="0">
                <a:solidFill>
                  <a:srgbClr val="FFFFFF"/>
                </a:solidFill>
              </a:rPr>
              <a:pPr/>
              <a:t>13/05/2026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bg1"/>
                </a:solidFill>
              </a:defRPr>
            </a:lvl1pPr>
          </a:lstStyle>
          <a:p>
            <a:fld id="{80FF260B-38A3-4F19-9DE1-AEA99B1EA5E2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787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6488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8A6EA256-1DE8-43D0-9F1D-A5599C72E640}" type="datetimeFigureOut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13/05/2026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5829273"/>
            <a:ext cx="3240000" cy="597263"/>
          </a:xfrm>
        </p:spPr>
        <p:txBody>
          <a:bodyPr anchor="ctr" anchorCtr="0"/>
          <a:lstStyle>
            <a:lvl1pPr algn="l">
              <a:defRPr sz="1150"/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18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80FF260B-38A3-4F19-9DE1-AEA99B1EA5E2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28195" y="714290"/>
            <a:ext cx="2195813" cy="168717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480000"/>
            <a:ext cx="2700000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1654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15703" y="6378007"/>
            <a:ext cx="2057400" cy="366183"/>
          </a:xfrm>
          <a:prstGeom prst="rect">
            <a:avLst/>
          </a:prstGeom>
        </p:spPr>
        <p:txBody>
          <a:bodyPr/>
          <a:lstStyle/>
          <a:p>
            <a:fld id="{8A6EA256-1DE8-43D0-9F1D-A5599C72E640}" type="datetimeFigureOut">
              <a:rPr lang="fr-FR" smtClean="0">
                <a:solidFill>
                  <a:srgbClr val="000000"/>
                </a:solidFill>
              </a:rPr>
              <a:pPr/>
              <a:t>13/05/202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766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315703" y="6378007"/>
            <a:ext cx="2057400" cy="366183"/>
          </a:xfrm>
          <a:prstGeom prst="rect">
            <a:avLst/>
          </a:prstGeom>
        </p:spPr>
        <p:txBody>
          <a:bodyPr/>
          <a:lstStyle/>
          <a:p>
            <a:fld id="{8A6EA256-1DE8-43D0-9F1D-A5599C72E640}" type="datetimeFigureOut">
              <a:rPr lang="fr-FR" smtClean="0">
                <a:solidFill>
                  <a:srgbClr val="000000"/>
                </a:solidFill>
              </a:rPr>
              <a:pPr/>
              <a:t>13/05/202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434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6397014"/>
            <a:ext cx="117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2" y="1664920"/>
            <a:ext cx="8424614" cy="323935"/>
          </a:xfrm>
        </p:spPr>
        <p:txBody>
          <a:bodyPr/>
          <a:lstStyle>
            <a:lvl1pPr marL="9525" indent="85701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2276876"/>
            <a:ext cx="8424334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439864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2084857"/>
            <a:ext cx="2520000" cy="3840427"/>
          </a:xfrm>
        </p:spPr>
        <p:txBody>
          <a:bodyPr/>
          <a:lstStyle>
            <a:lvl1pPr marL="143963" indent="-143963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084851"/>
            <a:ext cx="2520000" cy="3814349"/>
          </a:xfrm>
        </p:spPr>
        <p:txBody>
          <a:bodyPr/>
          <a:lstStyle>
            <a:lvl1pPr marL="143963" indent="-143963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084851"/>
            <a:ext cx="2520000" cy="3814349"/>
          </a:xfrm>
        </p:spPr>
        <p:txBody>
          <a:bodyPr/>
          <a:lstStyle>
            <a:lvl1pPr marL="143963" indent="-143963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4" y="6397014"/>
            <a:ext cx="1210435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6" y="910403"/>
            <a:ext cx="8424863" cy="719988"/>
          </a:xfrm>
        </p:spPr>
        <p:txBody>
          <a:bodyPr/>
          <a:lstStyle/>
          <a:p>
            <a:r>
              <a:rPr lang="fr-FR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27763232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4" y="6397014"/>
            <a:ext cx="1210435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2" y="1664920"/>
            <a:ext cx="8424614" cy="323935"/>
          </a:xfrm>
        </p:spPr>
        <p:txBody>
          <a:bodyPr/>
          <a:lstStyle>
            <a:lvl1pPr marL="0" indent="95216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6" y="910403"/>
            <a:ext cx="8424863" cy="719988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30" y="2276876"/>
            <a:ext cx="2556471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2276876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2276876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41092976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2276876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4" y="6397014"/>
            <a:ext cx="1210435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2" y="1664920"/>
            <a:ext cx="8424614" cy="323935"/>
          </a:xfrm>
        </p:spPr>
        <p:txBody>
          <a:bodyPr/>
          <a:lstStyle>
            <a:lvl1pPr marL="0" indent="95216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6" y="910403"/>
            <a:ext cx="8424863" cy="719988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2276876"/>
            <a:ext cx="5616624" cy="384042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1582809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2276876"/>
            <a:ext cx="252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4" y="6397014"/>
            <a:ext cx="1210435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2" y="1664920"/>
            <a:ext cx="8424614" cy="323935"/>
          </a:xfrm>
        </p:spPr>
        <p:txBody>
          <a:bodyPr/>
          <a:lstStyle>
            <a:lvl1pPr marL="0" indent="95216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04" indent="-143963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6" y="910403"/>
            <a:ext cx="8424863" cy="719988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2276880"/>
            <a:ext cx="5761038" cy="3839633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182426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336000"/>
            <a:ext cx="1440000" cy="192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852936"/>
            <a:ext cx="8424000" cy="305763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51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1" y="63792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4" y="6397014"/>
            <a:ext cx="1210435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>
                <a:solidFill>
                  <a:srgbClr val="000000"/>
                </a:solidFill>
              </a:rPr>
              <a:pPr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52" y="260648"/>
            <a:ext cx="4680769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57385" y="460709"/>
            <a:ext cx="2010556" cy="154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4244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4"/>
            <a:ext cx="9144000" cy="5925277"/>
          </a:xfrm>
          <a:solidFill>
            <a:schemeClr val="tx2"/>
          </a:solidFill>
        </p:spPr>
        <p:txBody>
          <a:bodyPr tIns="1079676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6397014"/>
            <a:ext cx="117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>
                <a:solidFill>
                  <a:srgbClr val="FFFFFF"/>
                </a:solidFill>
              </a:rPr>
              <a:pPr/>
              <a:t>13/05/2026</a:t>
            </a:fld>
            <a:endParaRPr lang="fr-FR" cap="all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59892" anchor="ctr" anchorCtr="0"/>
          <a:lstStyle>
            <a:lvl1pPr marL="395880" indent="-395880">
              <a:buFont typeface="+mj-lt"/>
              <a:buAutoNum type="arabicPeriod"/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3500069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81826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13/05/2026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5829438"/>
            <a:ext cx="3240000" cy="597263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18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28211" y="714305"/>
            <a:ext cx="2195813" cy="168717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480000"/>
            <a:ext cx="2700000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995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3B943-80A1-4E09-AFBA-4C7EDC0AD2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4821" y="2087569"/>
            <a:ext cx="7816514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srgbClr val="0C419A"/>
                </a:solidFill>
              </a:rPr>
              <a:pPr/>
              <a:t>‹N°›</a:t>
            </a:fld>
            <a:endParaRPr lang="fr-FR">
              <a:solidFill>
                <a:srgbClr val="0C419A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56300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just">
              <a:defRPr>
                <a:latin typeface="Bahnschrift SemiLight SemiConde" panose="020B0502040204020203" pitchFamily="34" charset="0"/>
              </a:defRPr>
            </a:lvl1pPr>
            <a:lvl2pPr algn="just">
              <a:defRPr>
                <a:latin typeface="Bahnschrift SemiLight SemiConde" panose="020B0502040204020203" pitchFamily="34" charset="0"/>
              </a:defRPr>
            </a:lvl2pPr>
            <a:lvl3pPr algn="just">
              <a:defRPr>
                <a:latin typeface="Bahnschrift SemiLight SemiConde" panose="020B0502040204020203" pitchFamily="34" charset="0"/>
              </a:defRPr>
            </a:lvl3pPr>
            <a:lvl4pPr algn="just">
              <a:defRPr>
                <a:latin typeface="Bahnschrift SemiLight SemiConde" panose="020B0502040204020203" pitchFamily="34" charset="0"/>
              </a:defRPr>
            </a:lvl4pPr>
            <a:lvl5pPr algn="just">
              <a:defRPr>
                <a:latin typeface="Bahnschrift SemiLight SemiConde" panose="020B0502040204020203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ssemblée générale du 22 Septembre 2021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42DF41-B2A1-41D3-8D58-4B07DBD05575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6377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4DC679-F54F-4846-9912-E80DB1F86B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4821" y="2087569"/>
            <a:ext cx="7816514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2871744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38AF43-4DAF-43BF-BB99-320937CECCF5}"/>
              </a:ext>
            </a:extLst>
          </p:cNvPr>
          <p:cNvSpPr/>
          <p:nvPr userDrawn="1"/>
        </p:nvSpPr>
        <p:spPr>
          <a:xfrm>
            <a:off x="413956" y="2343149"/>
            <a:ext cx="8730044" cy="45148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3" tIns="34289" rIns="68553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20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815321"/>
              </p:ext>
            </p:extLst>
          </p:nvPr>
        </p:nvGraphicFramePr>
        <p:xfrm>
          <a:off x="1212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2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33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7794" y="5710467"/>
            <a:ext cx="7080402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1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8650" y="4473576"/>
            <a:ext cx="7080402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5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8650" y="3336888"/>
            <a:ext cx="7080402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33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2EC7453-A5E8-4A53-A946-48279B8DDB0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3956" y="448028"/>
            <a:ext cx="1730018" cy="1659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2626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5F193C-E268-4733-AD80-A691EB7202AB}"/>
              </a:ext>
            </a:extLst>
          </p:cNvPr>
          <p:cNvSpPr/>
          <p:nvPr userDrawn="1"/>
        </p:nvSpPr>
        <p:spPr>
          <a:xfrm>
            <a:off x="2200276" y="2381269"/>
            <a:ext cx="6943724" cy="4476751"/>
          </a:xfrm>
          <a:prstGeom prst="rect">
            <a:avLst/>
          </a:prstGeom>
          <a:solidFill>
            <a:schemeClr val="tx2">
              <a:alpha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3" tIns="34289" rIns="68553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20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04282"/>
              </p:ext>
            </p:extLst>
          </p:nvPr>
        </p:nvGraphicFramePr>
        <p:xfrm>
          <a:off x="1212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2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33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2499468" y="5710319"/>
            <a:ext cx="631507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11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2500320" y="4816634"/>
            <a:ext cx="631507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15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2500320" y="3341267"/>
            <a:ext cx="631507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3300" cap="all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8" name="Image 1">
            <a:extLst>
              <a:ext uri="{FF2B5EF4-FFF2-40B4-BE49-F238E27FC236}">
                <a16:creationId xmlns:a16="http://schemas.microsoft.com/office/drawing/2014/main" id="{DC4F8B53-E9B3-4719-8C90-880C9BBD9B2F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50" y="315897"/>
            <a:ext cx="1829182" cy="189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04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736706"/>
              </p:ext>
            </p:extLst>
          </p:nvPr>
        </p:nvGraphicFramePr>
        <p:xfrm>
          <a:off x="1212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12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9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3" y="499988"/>
            <a:ext cx="7273004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3" y="957833"/>
            <a:ext cx="72730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400" b="1" dirty="0">
                <a:solidFill>
                  <a:schemeClr val="accent3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6514001"/>
            <a:ext cx="244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457844">
              <a:defRPr/>
            </a:pPr>
            <a:fld id="{4ABDCABE-3F10-B64C-92F1-862014417034}" type="slidenum">
              <a:rPr lang="fr-FR" sz="700">
                <a:solidFill>
                  <a:srgbClr val="23277E"/>
                </a:solidFill>
                <a:cs typeface="Arial" panose="020B0604020202020204" pitchFamily="34" charset="0"/>
              </a:rPr>
              <a:pPr algn="r" defTabSz="457844">
                <a:defRPr/>
              </a:pPr>
              <a:t>‹N°›</a:t>
            </a:fld>
            <a:endParaRPr lang="fr-FR" sz="700">
              <a:solidFill>
                <a:srgbClr val="23277E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14167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84396" y="6504471"/>
            <a:ext cx="244126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>
            <a:extLst>
              <a:ext uri="{FF2B5EF4-FFF2-40B4-BE49-F238E27FC236}">
                <a16:creationId xmlns:a16="http://schemas.microsoft.com/office/drawing/2014/main" id="{64E3EAA6-0E58-473B-95BB-9D7539E6A66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404517" y="33868"/>
            <a:ext cx="739707" cy="70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4144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032389"/>
            <a:ext cx="9144000" cy="1828883"/>
          </a:xfrm>
          <a:solidFill>
            <a:schemeClr val="tx2"/>
          </a:solidFill>
        </p:spPr>
        <p:txBody>
          <a:bodyPr tIns="1079676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6397007"/>
            <a:ext cx="117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pPr defTabSz="914130"/>
            <a:fld id="{5F7325A3-5315-1B4B-A0D9-112471EB5837}" type="datetime1">
              <a:rPr lang="fr-FR" cap="all" smtClean="0">
                <a:solidFill>
                  <a:srgbClr val="FFFFFF"/>
                </a:solidFill>
              </a:rPr>
              <a:pPr defTabSz="914130"/>
              <a:t>13/05/2026</a:t>
            </a:fld>
            <a:endParaRPr lang="fr-FR" cap="all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59892" anchor="ctr" anchorCtr="0"/>
          <a:lstStyle>
            <a:lvl1pPr marL="395880" indent="-395880">
              <a:buFont typeface="+mj-lt"/>
              <a:buAutoNum type="arabicPeriod"/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pPr defTabSz="914130"/>
            <a:fld id="{733122C9-A0B9-462F-8757-0847AD287B63}" type="slidenum">
              <a:rPr lang="fr-FR" smtClean="0">
                <a:solidFill>
                  <a:srgbClr val="FFFFFF"/>
                </a:solidFill>
              </a:rPr>
              <a:pPr defTabSz="914130"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4130"/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3267476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3B943-80A1-4E09-AFBA-4C7EDC0AD2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4821" y="2087567"/>
            <a:ext cx="7816514" cy="10259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7398713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975A587B-5814-4D9B-9598-FE9CB954CB01}" type="slidenum">
              <a:rPr lang="fr-FR">
                <a:solidFill>
                  <a:srgbClr val="0C419A"/>
                </a:solidFill>
              </a:rPr>
              <a:pPr/>
              <a:t>‹N°›</a:t>
            </a:fld>
            <a:endParaRPr lang="fr-FR">
              <a:solidFill>
                <a:srgbClr val="0C419A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1058778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38AF43-4DAF-43BF-BB99-320937CECCF5}"/>
              </a:ext>
            </a:extLst>
          </p:cNvPr>
          <p:cNvSpPr/>
          <p:nvPr userDrawn="1"/>
        </p:nvSpPr>
        <p:spPr>
          <a:xfrm>
            <a:off x="413956" y="2343149"/>
            <a:ext cx="8730044" cy="45148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3" tIns="34289" rIns="68553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20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722214"/>
              </p:ext>
            </p:extLst>
          </p:nvPr>
        </p:nvGraphicFramePr>
        <p:xfrm>
          <a:off x="1201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1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33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7794" y="5710466"/>
            <a:ext cx="7080402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1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8650" y="4473576"/>
            <a:ext cx="7080402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5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8650" y="3336888"/>
            <a:ext cx="7080402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33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2EC7453-A5E8-4A53-A946-48279B8DDB0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3956" y="448028"/>
            <a:ext cx="1730018" cy="1659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599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91741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5F193C-E268-4733-AD80-A691EB7202AB}"/>
              </a:ext>
            </a:extLst>
          </p:cNvPr>
          <p:cNvSpPr/>
          <p:nvPr userDrawn="1"/>
        </p:nvSpPr>
        <p:spPr>
          <a:xfrm>
            <a:off x="2200276" y="2381269"/>
            <a:ext cx="6943724" cy="4476751"/>
          </a:xfrm>
          <a:prstGeom prst="rect">
            <a:avLst/>
          </a:prstGeom>
          <a:solidFill>
            <a:schemeClr val="tx2">
              <a:alpha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3" tIns="34289" rIns="68553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200">
              <a:solidFill>
                <a:srgbClr val="FFFFFF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337418"/>
              </p:ext>
            </p:extLst>
          </p:nvPr>
        </p:nvGraphicFramePr>
        <p:xfrm>
          <a:off x="1201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1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33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2499463" y="5710319"/>
            <a:ext cx="631507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11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2500315" y="4816632"/>
            <a:ext cx="631507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15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2500315" y="3341267"/>
            <a:ext cx="631507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3300" cap="all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8" name="Image 1">
            <a:extLst>
              <a:ext uri="{FF2B5EF4-FFF2-40B4-BE49-F238E27FC236}">
                <a16:creationId xmlns:a16="http://schemas.microsoft.com/office/drawing/2014/main" id="{DC4F8B53-E9B3-4719-8C90-880C9BBD9B2F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50" y="315897"/>
            <a:ext cx="1829182" cy="189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149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290446"/>
              </p:ext>
            </p:extLst>
          </p:nvPr>
        </p:nvGraphicFramePr>
        <p:xfrm>
          <a:off x="1201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01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9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3" y="499988"/>
            <a:ext cx="7273004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3" y="957833"/>
            <a:ext cx="72730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400" b="1" dirty="0">
                <a:solidFill>
                  <a:schemeClr val="accent3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6513997"/>
            <a:ext cx="244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457844">
              <a:defRPr/>
            </a:pPr>
            <a:fld id="{4ABDCABE-3F10-B64C-92F1-862014417034}" type="slidenum">
              <a:rPr lang="fr-FR" sz="700">
                <a:solidFill>
                  <a:srgbClr val="23277E"/>
                </a:solidFill>
                <a:cs typeface="Arial" panose="020B0604020202020204" pitchFamily="34" charset="0"/>
              </a:rPr>
              <a:pPr algn="r" defTabSz="457844">
                <a:defRPr/>
              </a:pPr>
              <a:t>‹N°›</a:t>
            </a:fld>
            <a:endParaRPr lang="fr-FR" sz="700">
              <a:solidFill>
                <a:srgbClr val="23277E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1416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8484396" y="6504471"/>
            <a:ext cx="244126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>
            <a:extLst>
              <a:ext uri="{FF2B5EF4-FFF2-40B4-BE49-F238E27FC236}">
                <a16:creationId xmlns:a16="http://schemas.microsoft.com/office/drawing/2014/main" id="{64E3EAA6-0E58-473B-95BB-9D7539E6A66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404516" y="33868"/>
            <a:ext cx="739707" cy="70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4324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032387"/>
            <a:ext cx="9144000" cy="1828883"/>
          </a:xfrm>
          <a:solidFill>
            <a:schemeClr val="tx2"/>
          </a:solidFill>
        </p:spPr>
        <p:txBody>
          <a:bodyPr tIns="1079676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6397005"/>
            <a:ext cx="117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pPr defTabSz="914130"/>
            <a:fld id="{5F7325A3-5315-1B4B-A0D9-112471EB5837}" type="datetime1">
              <a:rPr lang="fr-FR" cap="all" smtClean="0">
                <a:solidFill>
                  <a:srgbClr val="FFFFFF"/>
                </a:solidFill>
              </a:rPr>
              <a:pPr defTabSz="914130"/>
              <a:t>13/05/2026</a:t>
            </a:fld>
            <a:endParaRPr lang="fr-FR" cap="all" dirty="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59892" anchor="ctr" anchorCtr="0"/>
          <a:lstStyle>
            <a:lvl1pPr marL="395880" indent="-395880">
              <a:buFont typeface="+mj-lt"/>
              <a:buAutoNum type="arabicPeriod"/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pPr defTabSz="914130"/>
            <a:fld id="{733122C9-A0B9-462F-8757-0847AD287B63}" type="slidenum">
              <a:rPr lang="fr-FR" smtClean="0">
                <a:solidFill>
                  <a:srgbClr val="FFFFFF"/>
                </a:solidFill>
              </a:rPr>
              <a:pPr defTabSz="914130"/>
              <a:t>‹N°›</a:t>
            </a:fld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4130"/>
            <a:r>
              <a:rPr lang="fr-FR" dirty="0">
                <a:solidFill>
                  <a:srgbClr val="000000"/>
                </a:solidFill>
              </a:rPr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2949220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9" y="296542"/>
            <a:ext cx="1361391" cy="6264921"/>
          </a:xfrm>
          <a:prstGeom prst="rect">
            <a:avLst/>
          </a:prstGeom>
        </p:spPr>
      </p:pic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9" y="296542"/>
            <a:ext cx="1361391" cy="6264921"/>
          </a:xfrm>
          <a:prstGeom prst="rect">
            <a:avLst/>
          </a:prstGeom>
        </p:spPr>
      </p:pic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80710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-3440" y="81945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4427538" y="2357096"/>
            <a:ext cx="2736304" cy="2880320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FontTx/>
              <a:buNone/>
              <a:defRPr lang="fr-FR" sz="1400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hapitre 1</a:t>
            </a:r>
          </a:p>
          <a:p>
            <a:pPr lvl="0"/>
            <a:r>
              <a:rPr lang="fr-FR" dirty="0"/>
              <a:t>Chapitre 2</a:t>
            </a:r>
          </a:p>
          <a:p>
            <a:pPr lvl="0"/>
            <a:r>
              <a:rPr lang="fr-FR" dirty="0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 dirty="0"/>
              <a:t>Présentation </a:t>
            </a:r>
            <a:r>
              <a:rPr lang="fr-FR" dirty="0" err="1"/>
              <a:t>générale_Mon</a:t>
            </a:r>
            <a:r>
              <a:rPr lang="fr-FR" dirty="0"/>
              <a:t> espace santé</a:t>
            </a:r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4427538" y="126625"/>
            <a:ext cx="3096790" cy="11274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Sommai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79208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1" y="192021"/>
            <a:ext cx="1310181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4427538" y="2244363"/>
            <a:ext cx="4311972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4427538" y="3754141"/>
            <a:ext cx="4311972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Sous-titre évent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1" y="192021"/>
            <a:ext cx="1310181" cy="6405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0143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2" y="3008"/>
            <a:ext cx="752211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8538" y="1221317"/>
            <a:ext cx="2735510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3200" kern="800" cap="none" baseline="0">
                <a:solidFill>
                  <a:schemeClr val="bg1"/>
                </a:solidFill>
              </a:defRPr>
            </a:lvl1pPr>
            <a:lvl2pPr marL="434250" indent="0">
              <a:lnSpc>
                <a:spcPct val="80000"/>
              </a:lnSpc>
              <a:buNone/>
              <a:defRPr sz="3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 principal de la slide</a:t>
            </a:r>
          </a:p>
          <a:p>
            <a:pPr lvl="1"/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538" y="3236385"/>
            <a:ext cx="2951534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2" y="3008"/>
            <a:ext cx="752211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9867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4078" y="1316569"/>
            <a:ext cx="2735957" cy="2495551"/>
          </a:xfrm>
          <a:prstGeom prst="rect">
            <a:avLst/>
          </a:prstGeom>
        </p:spPr>
        <p:txBody>
          <a:bodyPr/>
          <a:lstStyle>
            <a:lvl1pPr>
              <a:defRPr sz="2800" kern="800" cap="all" baseline="0"/>
            </a:lvl1pPr>
            <a:lvl2pPr marL="434250" indent="0">
              <a:buNone/>
              <a:defRPr sz="3200"/>
            </a:lvl2pPr>
          </a:lstStyle>
          <a:p>
            <a:pPr lvl="0"/>
            <a:r>
              <a:rPr lang="fr-FR" dirty="0"/>
              <a:t>Titre de la slide</a:t>
            </a:r>
          </a:p>
          <a:p>
            <a:pPr lvl="1"/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4051" y="1316569"/>
            <a:ext cx="3457575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/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92706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smtClean="0"/>
              <a:pPr/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408756" y="6333324"/>
            <a:ext cx="5891439" cy="365125"/>
          </a:xfrm>
        </p:spPr>
        <p:txBody>
          <a:bodyPr/>
          <a:lstStyle>
            <a:lvl1pPr>
              <a:defRPr lang="fr-FR" smtClean="0">
                <a:latin typeface="Arial"/>
              </a:defRPr>
            </a:lvl1pPr>
          </a:lstStyle>
          <a:p>
            <a:r>
              <a:rPr dirty="0"/>
              <a:t>Présentation </a:t>
            </a:r>
            <a:r>
              <a:rPr dirty="0" err="1"/>
              <a:t>générale_Mon</a:t>
            </a:r>
            <a:r>
              <a:rPr dirty="0"/>
              <a:t> espace santé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3D8F063-E42D-42D4-8883-5F2862B97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6672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303921-6501-47A7-8D1C-636F02F4C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08FC794-CC7B-427F-9618-7045230046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C0E4EAE-D7B8-4380-9423-1CF5AAC8F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756" y="6333324"/>
            <a:ext cx="5891439" cy="365125"/>
          </a:xfrm>
        </p:spPr>
        <p:txBody>
          <a:bodyPr/>
          <a:lstStyle>
            <a:lvl1pPr>
              <a:defRPr lang="fr-FR" smtClean="0">
                <a:latin typeface="Arial"/>
              </a:defRPr>
            </a:lvl1pPr>
          </a:lstStyle>
          <a:p>
            <a:r>
              <a:rPr dirty="0"/>
              <a:t>Présentation </a:t>
            </a:r>
            <a:r>
              <a:rPr dirty="0" err="1"/>
              <a:t>générale_Mon</a:t>
            </a:r>
            <a:r>
              <a:rPr dirty="0"/>
              <a:t> espace santé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8722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952502" y="1630363"/>
            <a:ext cx="3541713" cy="4113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614" y="1630363"/>
            <a:ext cx="3543300" cy="4113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548367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smtClean="0"/>
              <a:pPr/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408756" y="6333324"/>
            <a:ext cx="5819431" cy="365125"/>
          </a:xfrm>
        </p:spPr>
        <p:txBody>
          <a:bodyPr/>
          <a:lstStyle>
            <a:lvl1pPr>
              <a:defRPr lang="fr-FR" smtClean="0">
                <a:latin typeface="Arial"/>
              </a:defRPr>
            </a:lvl1pPr>
          </a:lstStyle>
          <a:p>
            <a:r>
              <a:rPr dirty="0"/>
              <a:t>Présentation </a:t>
            </a:r>
            <a:r>
              <a:rPr dirty="0" err="1"/>
              <a:t>générale_Mon</a:t>
            </a:r>
            <a:r>
              <a:rPr dirty="0"/>
              <a:t> espace santé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07094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27584" y="116632"/>
            <a:ext cx="8064092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827586" y="1124745"/>
            <a:ext cx="3889375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400">
                <a:solidFill>
                  <a:srgbClr val="575757"/>
                </a:solidFill>
              </a:defRPr>
            </a:lvl4pPr>
            <a:lvl5pPr>
              <a:defRPr sz="12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5002304" y="1124745"/>
            <a:ext cx="3889375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400">
                <a:solidFill>
                  <a:srgbClr val="575757"/>
                </a:solidFill>
              </a:defRPr>
            </a:lvl4pPr>
            <a:lvl5pPr>
              <a:defRPr sz="12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>
          <a:xfrm>
            <a:off x="408756" y="6333324"/>
            <a:ext cx="5891439" cy="365125"/>
          </a:xfrm>
        </p:spPr>
        <p:txBody>
          <a:bodyPr/>
          <a:lstStyle>
            <a:lvl1pPr>
              <a:defRPr lang="fr-FR" smtClean="0">
                <a:latin typeface="Arial"/>
              </a:defRPr>
            </a:lvl1pPr>
          </a:lstStyle>
          <a:p>
            <a:r>
              <a:rPr dirty="0"/>
              <a:t>Présentation </a:t>
            </a:r>
            <a:r>
              <a:rPr dirty="0" err="1"/>
              <a:t>générale_Mon</a:t>
            </a:r>
            <a:r>
              <a:rPr dirty="0"/>
              <a:t> espace santé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882097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0" y="3821944"/>
            <a:ext cx="2626521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9" y="296542"/>
            <a:ext cx="1361391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0" y="3821944"/>
            <a:ext cx="2626521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9" y="296542"/>
            <a:ext cx="1361391" cy="626492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8262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9" y="296542"/>
            <a:ext cx="1361391" cy="6264921"/>
          </a:xfrm>
          <a:prstGeom prst="rect">
            <a:avLst/>
          </a:prstGeom>
        </p:spPr>
      </p:pic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63577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6" y="296545"/>
            <a:ext cx="1361391" cy="6264921"/>
          </a:xfrm>
          <a:prstGeom prst="rect">
            <a:avLst/>
          </a:prstGeom>
        </p:spPr>
      </p:pic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  <p:sp>
        <p:nvSpPr>
          <p:cNvPr id="16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18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381071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-3440" y="81945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4427538" y="2357096"/>
            <a:ext cx="2736304" cy="2880320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FontTx/>
              <a:buNone/>
              <a:defRPr lang="fr-FR" sz="1400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hapitre 1</a:t>
            </a:r>
          </a:p>
          <a:p>
            <a:pPr lvl="0"/>
            <a:r>
              <a:rPr lang="fr-FR" dirty="0"/>
              <a:t>Chapitre 2</a:t>
            </a:r>
          </a:p>
          <a:p>
            <a:pPr lvl="0"/>
            <a:r>
              <a:rPr lang="fr-FR" dirty="0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1979266" y="81945"/>
            <a:ext cx="3096790" cy="11274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Ordre du jour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74467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4427538" y="2244363"/>
            <a:ext cx="4311972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4427538" y="3754141"/>
            <a:ext cx="4311972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Sous-titre évent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79" y="192021"/>
            <a:ext cx="1310181" cy="6405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14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168394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5" y="3009"/>
            <a:ext cx="752211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8538" y="1221317"/>
            <a:ext cx="2735510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3200" kern="800" cap="none" baseline="0">
                <a:solidFill>
                  <a:schemeClr val="bg1"/>
                </a:solidFill>
              </a:defRPr>
            </a:lvl1pPr>
            <a:lvl2pPr marL="434250" indent="0">
              <a:lnSpc>
                <a:spcPct val="80000"/>
              </a:lnSpc>
              <a:buNone/>
              <a:defRPr sz="3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 principal de la slide</a:t>
            </a:r>
          </a:p>
          <a:p>
            <a:pPr lvl="1"/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538" y="3236385"/>
            <a:ext cx="2951534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5" y="3009"/>
            <a:ext cx="752211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8682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4086" y="1316573"/>
            <a:ext cx="2735957" cy="2495551"/>
          </a:xfrm>
          <a:prstGeom prst="rect">
            <a:avLst/>
          </a:prstGeom>
        </p:spPr>
        <p:txBody>
          <a:bodyPr/>
          <a:lstStyle>
            <a:lvl1pPr>
              <a:defRPr sz="2800" kern="800" cap="all" baseline="0"/>
            </a:lvl1pPr>
            <a:lvl2pPr marL="434250" indent="0">
              <a:buNone/>
              <a:defRPr sz="3200"/>
            </a:lvl2pPr>
          </a:lstStyle>
          <a:p>
            <a:pPr lvl="0"/>
            <a:r>
              <a:rPr lang="fr-FR" dirty="0"/>
              <a:t>Titre de la slide</a:t>
            </a:r>
          </a:p>
          <a:p>
            <a:pPr lvl="1"/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4059" y="1316573"/>
            <a:ext cx="3457575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/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2513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303921-6501-47A7-8D1C-636F02F4C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84" y="116632"/>
            <a:ext cx="6912768" cy="72000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08FC794-CC7B-427F-9618-7045230046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C0E4EAE-D7B8-4380-9423-1CF5AAC8F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759" y="6333324"/>
            <a:ext cx="5891439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033690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572132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27584" y="116632"/>
            <a:ext cx="7344816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smtClean="0"/>
              <a:pPr/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408757" y="6333324"/>
            <a:ext cx="5819431" cy="365125"/>
          </a:xfrm>
        </p:spPr>
        <p:txBody>
          <a:bodyPr/>
          <a:lstStyle>
            <a:lvl1pPr>
              <a:defRPr sz="800"/>
            </a:lvl1pPr>
          </a:lstStyle>
          <a:p>
            <a:r>
              <a:rPr lang="fr-FR"/>
              <a:t>| Titre du document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779353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8" y="3821945"/>
            <a:ext cx="2626521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47" y="296545"/>
            <a:ext cx="1361391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8" y="3821945"/>
            <a:ext cx="2626521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47" y="296545"/>
            <a:ext cx="1361391" cy="6264921"/>
          </a:xfrm>
          <a:prstGeom prst="rect">
            <a:avLst/>
          </a:prstGeom>
        </p:spPr>
      </p:pic>
      <p:sp>
        <p:nvSpPr>
          <p:cNvPr id="1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22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45162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6" y="296545"/>
            <a:ext cx="1361391" cy="6264921"/>
          </a:xfrm>
          <a:prstGeom prst="rect">
            <a:avLst/>
          </a:prstGeom>
        </p:spPr>
      </p:pic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40767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6" y="296545"/>
            <a:ext cx="1361391" cy="6264921"/>
          </a:xfrm>
          <a:prstGeom prst="rect">
            <a:avLst/>
          </a:prstGeom>
        </p:spPr>
      </p:pic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  <p:sp>
        <p:nvSpPr>
          <p:cNvPr id="16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18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4404937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-3440" y="81945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4427538" y="2357096"/>
            <a:ext cx="2736304" cy="2880320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FontTx/>
              <a:buNone/>
              <a:defRPr lang="fr-FR" sz="1400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hapitre 1</a:t>
            </a:r>
          </a:p>
          <a:p>
            <a:pPr lvl="0"/>
            <a:r>
              <a:rPr lang="fr-FR" dirty="0"/>
              <a:t>Chapitre 2</a:t>
            </a:r>
          </a:p>
          <a:p>
            <a:pPr lvl="0"/>
            <a:r>
              <a:rPr lang="fr-FR" dirty="0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1979266" y="81945"/>
            <a:ext cx="3096790" cy="11274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Ordre du jour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43576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4427538" y="2244363"/>
            <a:ext cx="4311972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4427538" y="3754141"/>
            <a:ext cx="4311972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Sous-titre évent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75" y="192021"/>
            <a:ext cx="1310181" cy="6405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  <p:sp>
        <p:nvSpPr>
          <p:cNvPr id="13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14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007720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5" y="3009"/>
            <a:ext cx="752211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8538" y="1221317"/>
            <a:ext cx="2735510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3200" kern="800" cap="none" baseline="0">
                <a:solidFill>
                  <a:schemeClr val="bg1"/>
                </a:solidFill>
              </a:defRPr>
            </a:lvl1pPr>
            <a:lvl2pPr marL="434250" indent="0">
              <a:lnSpc>
                <a:spcPct val="80000"/>
              </a:lnSpc>
              <a:buNone/>
              <a:defRPr sz="3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 principal de la slide</a:t>
            </a:r>
          </a:p>
          <a:p>
            <a:pPr lvl="1"/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538" y="3236385"/>
            <a:ext cx="2951534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9144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95" y="3009"/>
            <a:ext cx="752211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0098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4082" y="1316571"/>
            <a:ext cx="2735957" cy="2495551"/>
          </a:xfrm>
          <a:prstGeom prst="rect">
            <a:avLst/>
          </a:prstGeom>
        </p:spPr>
        <p:txBody>
          <a:bodyPr/>
          <a:lstStyle>
            <a:lvl1pPr>
              <a:defRPr sz="2800" kern="800" cap="all" baseline="0"/>
            </a:lvl1pPr>
            <a:lvl2pPr marL="434250" indent="0">
              <a:buNone/>
              <a:defRPr sz="3200"/>
            </a:lvl2pPr>
          </a:lstStyle>
          <a:p>
            <a:pPr lvl="0"/>
            <a:r>
              <a:rPr lang="fr-FR" dirty="0"/>
              <a:t>Titre de la slide</a:t>
            </a:r>
          </a:p>
          <a:p>
            <a:pPr lvl="1"/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4055" y="1316571"/>
            <a:ext cx="3457575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/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8596"/>
            <a:ext cx="9190183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252952"/>
            <a:ext cx="657373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7871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303921-6501-47A7-8D1C-636F02F4C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84" y="116632"/>
            <a:ext cx="6912768" cy="72000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08FC794-CC7B-427F-9618-7045230046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C0E4EAE-D7B8-4380-9423-1CF5AAC8F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759" y="6333324"/>
            <a:ext cx="5891439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0238264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27584" y="116632"/>
            <a:ext cx="7344816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smtClean="0"/>
              <a:pPr/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408757" y="6333324"/>
            <a:ext cx="5819431" cy="365125"/>
          </a:xfrm>
        </p:spPr>
        <p:txBody>
          <a:bodyPr/>
          <a:lstStyle>
            <a:lvl1pPr>
              <a:defRPr sz="800"/>
            </a:lvl1pPr>
          </a:lstStyle>
          <a:p>
            <a:r>
              <a:rPr lang="fr-FR"/>
              <a:t>| Titre du document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57587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271071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4" y="3821945"/>
            <a:ext cx="2626521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43" y="296545"/>
            <a:ext cx="1361391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9144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18086" y="1682636"/>
            <a:ext cx="3240360" cy="3372488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rgbClr val="575757"/>
                </a:solidFill>
                <a:ea typeface="Geneva" charset="-128"/>
              </a:rPr>
              <a:t>esante.gouv.f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500" dirty="0">
                <a:solidFill>
                  <a:srgbClr val="575757"/>
                </a:solidFill>
                <a:ea typeface="Geneva" charset="-128"/>
              </a:rPr>
              <a:t>Le portail pour accéder à l’ensemble des services et produits de l’agence du numérique en santé et s’informer sur l’actualité de la e-santé.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dirty="0" err="1">
              <a:solidFill>
                <a:srgbClr val="575757"/>
              </a:solidFill>
              <a:ea typeface="Geneva" charset="-128"/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3757012"/>
            <a:ext cx="422086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4362411"/>
            <a:ext cx="252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54" y="3821945"/>
            <a:ext cx="2626521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43" y="296545"/>
            <a:ext cx="1361391" cy="6264921"/>
          </a:xfrm>
          <a:prstGeom prst="rect">
            <a:avLst/>
          </a:prstGeom>
        </p:spPr>
      </p:pic>
      <p:sp>
        <p:nvSpPr>
          <p:cNvPr id="1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6333324"/>
            <a:ext cx="287338" cy="365125"/>
          </a:xfrm>
        </p:spPr>
        <p:txBody>
          <a:bodyPr/>
          <a:lstStyle/>
          <a:p>
            <a:fld id="{646E7B68-C406-4B5C-B79D-A1CDE10CB85D}" type="slidenum">
              <a:rPr/>
              <a:pPr/>
              <a:t>‹N°›</a:t>
            </a:fld>
            <a:endParaRPr dirty="0"/>
          </a:p>
        </p:txBody>
      </p:sp>
      <p:sp>
        <p:nvSpPr>
          <p:cNvPr id="22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408756" y="6333324"/>
            <a:ext cx="5747423" cy="365125"/>
          </a:xfrm>
        </p:spPr>
        <p:txBody>
          <a:bodyPr/>
          <a:lstStyle/>
          <a:p>
            <a:r>
              <a:rPr lang="fr-FR"/>
              <a:t>| Titre du document</a:t>
            </a:r>
            <a:endParaRPr lang="fr-FR" dirty="0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98535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9144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2244363"/>
            <a:ext cx="4527550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3754141"/>
            <a:ext cx="4527550" cy="885891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6" y="296545"/>
            <a:ext cx="1361391" cy="6264921"/>
          </a:xfrm>
          <a:prstGeom prst="rect">
            <a:avLst/>
          </a:prstGeom>
        </p:spPr>
      </p:pic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11960" y="5219763"/>
            <a:ext cx="4527550" cy="513493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346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628650" y="2708647"/>
            <a:ext cx="7886700" cy="6477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3572247"/>
            <a:ext cx="7886700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 algn="ctr"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fr-FR" dirty="0"/>
              <a:t>Intervenant(s)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4353545"/>
            <a:ext cx="3943350" cy="863600"/>
          </a:xfrm>
          <a:prstGeom prst="rect">
            <a:avLst/>
          </a:prstGeom>
        </p:spPr>
        <p:txBody>
          <a:bodyPr/>
          <a:lstStyle>
            <a:lvl2pPr algn="ctr">
              <a:defRPr>
                <a:solidFill>
                  <a:schemeClr val="bg2"/>
                </a:solidFill>
              </a:defRPr>
            </a:lvl2pPr>
          </a:lstStyle>
          <a:p>
            <a:pPr lvl="1"/>
            <a:r>
              <a:rPr lang="fr-FR" dirty="0"/>
              <a:t>événement</a:t>
            </a:r>
          </a:p>
        </p:txBody>
      </p:sp>
      <p:sp>
        <p:nvSpPr>
          <p:cNvPr id="26" name="Espace réservé du texte 2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4353545"/>
            <a:ext cx="4032448" cy="863600"/>
          </a:xfrm>
          <a:prstGeom prst="rect">
            <a:avLst/>
          </a:prstGeom>
        </p:spPr>
        <p:txBody>
          <a:bodyPr/>
          <a:lstStyle>
            <a:lvl2pPr algn="ctr">
              <a:defRPr>
                <a:solidFill>
                  <a:schemeClr val="bg2"/>
                </a:solidFill>
              </a:defRPr>
            </a:lvl2pPr>
          </a:lstStyle>
          <a:p>
            <a:pPr lvl="1"/>
            <a:r>
              <a:rPr lang="fr-FR" dirty="0"/>
              <a:t>date</a:t>
            </a:r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0" y="1484313"/>
            <a:ext cx="7886700" cy="11525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solidFill>
                  <a:srgbClr val="0170C9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383073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2937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3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8856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5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image" Target="../media/image12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5" Type="http://schemas.openxmlformats.org/officeDocument/2006/relationships/theme" Target="../theme/theme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image" Target="../media/image1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19.jfi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17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5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19.jfi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67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19.jf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 l="-3000" t="-5000" r="-3000"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2382" y="5877273"/>
            <a:ext cx="3574257" cy="980729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-2380" y="5877273"/>
            <a:ext cx="9146380" cy="980729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365760"/>
            <a:ext cx="7520940" cy="5486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100629"/>
            <a:ext cx="7520940" cy="45606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7514" y="6285123"/>
            <a:ext cx="47244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spc="200" baseline="0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Réunion lancement - 20 décembre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1038" y="6170823"/>
            <a:ext cx="502920" cy="502920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9144" tIns="9144" rIns="9144" bIns="9144" rtlCol="0" anchor="ctr">
            <a:normAutofit/>
          </a:bodyPr>
          <a:lstStyle>
            <a:lvl1pPr algn="ctr">
              <a:defRPr sz="1650">
                <a:solidFill>
                  <a:srgbClr val="FFFFFF"/>
                </a:solidFill>
              </a:defRPr>
            </a:lvl1pPr>
          </a:lstStyle>
          <a:p>
            <a:fld id="{C9293092-6B53-45B5-B720-B7B51CBD1DDE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32" y="6309320"/>
            <a:ext cx="254574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57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5250">
        <p15:prstTrans prst="drape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rgbClr val="0000FF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800"/>
        </a:spcBef>
        <a:buFont typeface="Arial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3736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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02336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 3" pitchFamily="18" charset="2"/>
        <a:buChar char="&quo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0936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9536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3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9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224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re 1"/>
          <p:cNvSpPr txBox="1">
            <a:spLocks/>
          </p:cNvSpPr>
          <p:nvPr/>
        </p:nvSpPr>
        <p:spPr>
          <a:xfrm>
            <a:off x="-36512" y="-27384"/>
            <a:ext cx="9180512" cy="1368152"/>
          </a:xfrm>
          <a:prstGeom prst="rect">
            <a:avLst/>
          </a:prstGeom>
          <a:solidFill>
            <a:srgbClr val="0170C9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>
              <a:solidFill>
                <a:srgbClr val="0170C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Titre 1"/>
          <p:cNvSpPr txBox="1">
            <a:spLocks/>
          </p:cNvSpPr>
          <p:nvPr/>
        </p:nvSpPr>
        <p:spPr>
          <a:xfrm>
            <a:off x="0" y="4293096"/>
            <a:ext cx="9180512" cy="1008112"/>
          </a:xfrm>
          <a:prstGeom prst="rect">
            <a:avLst/>
          </a:prstGeom>
          <a:solidFill>
            <a:srgbClr val="0170C9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556" y="5410201"/>
            <a:ext cx="12954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45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0663"/>
            <a:ext cx="6929438" cy="114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quez pour éditer le format du texte-titre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2502" y="1630363"/>
            <a:ext cx="7237413" cy="4113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quez pour éditer le format du plan de texte</a:t>
            </a:r>
          </a:p>
          <a:p>
            <a:pPr lvl="1"/>
            <a:r>
              <a:rPr lang="en-GB" altLang="fr-FR"/>
              <a:t>Second niveau de plan</a:t>
            </a:r>
          </a:p>
          <a:p>
            <a:pPr lvl="2"/>
            <a:r>
              <a:rPr lang="en-GB" altLang="fr-FR"/>
              <a:t>Troisième niveau de plan</a:t>
            </a:r>
          </a:p>
          <a:p>
            <a:pPr lvl="3"/>
            <a:r>
              <a:rPr lang="en-GB" altLang="fr-FR"/>
              <a:t>Quatrième niveau de plan</a:t>
            </a:r>
          </a:p>
          <a:p>
            <a:pPr lvl="4"/>
            <a:r>
              <a:rPr lang="en-GB" altLang="fr-FR"/>
              <a:t>Cinquième niveau de plan</a:t>
            </a:r>
          </a:p>
          <a:p>
            <a:pPr lvl="4"/>
            <a:r>
              <a:rPr lang="en-GB" altLang="fr-FR"/>
              <a:t>Sixième niveau de plan</a:t>
            </a:r>
          </a:p>
          <a:p>
            <a:pPr lvl="4"/>
            <a:r>
              <a:rPr lang="en-GB" altLang="fr-FR"/>
              <a:t>Septième niveau de plan</a:t>
            </a:r>
          </a:p>
        </p:txBody>
      </p:sp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8778875" y="6477000"/>
            <a:ext cx="457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>
              <a:spcBef>
                <a:spcPts val="625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>
              <a:spcBef>
                <a:spcPts val="625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>
              <a:spcBef>
                <a:spcPts val="625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>
              <a:spcBef>
                <a:spcPts val="625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000">
                <a:solidFill>
                  <a:srgbClr val="002395"/>
                </a:solidFill>
                <a:latin typeface="Arial" charset="0"/>
                <a:ea typeface="Microsoft YaHei" charset="-122"/>
              </a:defRPr>
            </a:lvl9pPr>
          </a:lstStyle>
          <a:p>
            <a:pPr algn="r" defTabSz="449263"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fld id="{8CB4A688-E562-4A79-ACF4-4DCCC5379300}" type="slidenum">
              <a:rPr lang="fr-FR" altLang="fr-FR" smtClean="0"/>
              <a:pPr algn="r" defTabSz="449263" fontAlgn="base">
                <a:spcBef>
                  <a:spcPct val="0"/>
                </a:spcBef>
                <a:spcAft>
                  <a:spcPct val="0"/>
                </a:spcAft>
                <a:buSzPct val="100000"/>
                <a:defRPr/>
              </a:pPr>
              <a:t>‹N°›</a:t>
            </a:fld>
            <a:endParaRPr lang="fr-FR" altLang="fr-FR"/>
          </a:p>
        </p:txBody>
      </p:sp>
      <p:pic>
        <p:nvPicPr>
          <p:cNvPr id="1029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225" y="0"/>
            <a:ext cx="1619250" cy="154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022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900" b="1">
          <a:solidFill>
            <a:srgbClr val="014445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5pPr>
      <a:lvl6pPr marL="25146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6pPr>
      <a:lvl7pPr marL="29718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7pPr>
      <a:lvl8pPr marL="34290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8pPr>
      <a:lvl9pPr marL="38862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900" b="1">
          <a:solidFill>
            <a:srgbClr val="014445"/>
          </a:solidFill>
          <a:latin typeface="Arial" charset="0"/>
          <a:ea typeface="Microsoft YaHei" charset="-122"/>
        </a:defRPr>
      </a:lvl9pPr>
    </p:titleStyle>
    <p:bodyStyle>
      <a:lvl1pPr marL="342900" indent="-342900" algn="l" defTabSz="449263" rtl="0" eaLnBrk="0" fontAlgn="base" hangingPunct="0">
        <a:spcBef>
          <a:spcPts val="425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7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5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200"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Times New Roman" pitchFamily="16" charset="0"/>
          <a:ea typeface="+mn-ea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Times New Roman" pitchFamily="16" charset="0"/>
          <a:ea typeface="+mn-ea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Times New Roman" pitchFamily="16" charset="0"/>
          <a:ea typeface="+mn-ea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Times New Roman" pitchFamily="16" charset="0"/>
          <a:ea typeface="+mn-ea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Times New Roman" pitchFamily="16" charset="0"/>
          <a:ea typeface="+mn-ea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Times New Roman" pitchFamily="16" charset="0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4" y="2276880"/>
            <a:ext cx="8424863" cy="3936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5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803275">
              <a:defRPr sz="750" b="1">
                <a:solidFill>
                  <a:schemeClr val="tx1"/>
                </a:solidFill>
              </a:defRPr>
            </a:lvl1pPr>
          </a:lstStyle>
          <a:p>
            <a:fld id="{80FF260B-38A3-4F19-9DE1-AEA99B1EA5E2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 dirty="0">
              <a:solidFill>
                <a:srgbClr val="000000"/>
              </a:solidFill>
            </a:endParaRPr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0" y="63792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4" y="910403"/>
            <a:ext cx="8424863" cy="719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63792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72877" y="246857"/>
            <a:ext cx="606854" cy="46628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44000"/>
            <a:ext cx="5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2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</p:sldLayoutIdLst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6" y="2276880"/>
            <a:ext cx="8424863" cy="3936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90" y="260648"/>
            <a:ext cx="5879931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4130"/>
            <a:r>
              <a:rPr lang="fr-FR">
                <a:solidFill>
                  <a:srgbClr val="000000"/>
                </a:solidFill>
              </a:rPr>
              <a:t>Intitulé de la direction/servic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6378000"/>
            <a:ext cx="135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4130"/>
            <a:fld id="{733122C9-A0B9-462F-8757-0847AD287B63}" type="slidenum">
              <a:rPr lang="fr-FR" smtClean="0">
                <a:solidFill>
                  <a:srgbClr val="000000"/>
                </a:solidFill>
              </a:rPr>
              <a:pPr defTabSz="914130"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1" y="63792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6" y="910403"/>
            <a:ext cx="8424863" cy="719988"/>
          </a:xfrm>
          <a:prstGeom prst="rect">
            <a:avLst/>
          </a:prstGeom>
        </p:spPr>
        <p:txBody>
          <a:bodyPr vert="horz" lIns="91416" tIns="45708" rIns="91416" bIns="45708" rtlCol="0" anchor="ctr">
            <a:normAutofit/>
          </a:bodyPr>
          <a:lstStyle/>
          <a:p>
            <a:r>
              <a:rPr lang="fr-FR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6378171"/>
            <a:ext cx="2057400" cy="366183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4130"/>
            <a:fld id="{B858D49A-5A7A-574D-A0ED-52B5C1EFA876}" type="datetime1">
              <a:rPr lang="fr-FR" cap="all" smtClean="0">
                <a:solidFill>
                  <a:srgbClr val="000000"/>
                </a:solidFill>
              </a:rPr>
              <a:pPr defTabSz="914130"/>
              <a:t>13/05/2026</a:t>
            </a:fld>
            <a:endParaRPr lang="fr-FR" cap="all">
              <a:solidFill>
                <a:srgbClr val="000000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63792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72879" y="246861"/>
            <a:ext cx="606854" cy="46628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44000"/>
            <a:ext cx="540000" cy="720000"/>
          </a:xfrm>
          <a:prstGeom prst="rect">
            <a:avLst/>
          </a:prstGeom>
        </p:spPr>
      </p:pic>
      <p:pic>
        <p:nvPicPr>
          <p:cNvPr id="11" name="Image 10"/>
          <p:cNvPicPr/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13"/>
          <a:stretch/>
        </p:blipFill>
        <p:spPr>
          <a:xfrm>
            <a:off x="1817571" y="3"/>
            <a:ext cx="1364040" cy="87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56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hf hdr="0"/>
  <p:txStyles>
    <p:titleStyle>
      <a:lvl1pPr marL="14288" indent="0" algn="l" defTabSz="91413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51" indent="0" algn="l" defTabSz="91413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342" indent="-171402" algn="l" defTabSz="91413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294" indent="-171402" algn="l" defTabSz="91413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34" indent="-171402" algn="l" defTabSz="91413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174" indent="-171402" algn="l" defTabSz="91413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indent="0" algn="l" defTabSz="91413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01594403"/>
              </p:ext>
            </p:extLst>
          </p:nvPr>
        </p:nvGraphicFramePr>
        <p:xfrm>
          <a:off x="1212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212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9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5479" y="6278575"/>
            <a:ext cx="54589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16052" y="499988"/>
            <a:ext cx="831189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5" y="0"/>
            <a:ext cx="9142857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94"/>
              <a:endParaRPr lang="fr-FR" sz="140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94"/>
              <a:endParaRPr lang="fr-FR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416052" y="1375626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490805" y="2170800"/>
            <a:ext cx="2286940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Titre</a:t>
            </a:r>
            <a:br>
              <a:rPr lang="fr-FR">
                <a:solidFill>
                  <a:srgbClr val="000000"/>
                </a:solidFill>
              </a:rPr>
            </a:br>
            <a:r>
              <a:rPr lang="fr-FR" sz="1100" b="0">
                <a:solidFill>
                  <a:srgbClr val="000000"/>
                </a:solidFill>
              </a:rPr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69" y="2170801"/>
            <a:ext cx="2144621" cy="10259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/>
        </p:nvGrpSpPr>
        <p:grpSpPr>
          <a:xfrm>
            <a:off x="7663472" y="3288629"/>
            <a:ext cx="1092562" cy="912120"/>
            <a:chOff x="10162879" y="3266856"/>
            <a:chExt cx="1456748" cy="912118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0" y="3266856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0" y="3638277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0" y="4009697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/>
        </p:nvGrpSpPr>
        <p:grpSpPr>
          <a:xfrm>
            <a:off x="7941748" y="1375469"/>
            <a:ext cx="814306" cy="1731859"/>
            <a:chOff x="7723680" y="1702457"/>
            <a:chExt cx="108574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3" y="173289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3" y="210835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3" y="248381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3" y="2859424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3" y="3234885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/>
        </p:nvGrpSpPr>
        <p:grpSpPr>
          <a:xfrm>
            <a:off x="7961608" y="4402873"/>
            <a:ext cx="794442" cy="1673018"/>
            <a:chOff x="10652400" y="4344182"/>
            <a:chExt cx="1059255" cy="1673015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7" y="4345911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25406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104907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76327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47747"/>
              <a:ext cx="733107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000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</p:sldLayoutIdLst>
  <p:txStyles>
    <p:titleStyle>
      <a:lvl1pPr algn="l" defTabSz="685494" rtl="0" eaLnBrk="1" latinLnBrk="0" hangingPunct="1">
        <a:lnSpc>
          <a:spcPct val="100000"/>
        </a:lnSpc>
        <a:spcBef>
          <a:spcPct val="0"/>
        </a:spcBef>
        <a:buNone/>
        <a:defRPr lang="fr-FR" sz="19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494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37105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95000"/>
        <a:buFont typeface="Arial" panose="020B0604020202020204" pitchFamily="34" charset="0"/>
        <a:buChar char="►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4211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11300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48397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94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4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88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43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8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2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6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49568271"/>
              </p:ext>
            </p:extLst>
          </p:nvPr>
        </p:nvGraphicFramePr>
        <p:xfrm>
          <a:off x="1201" y="1591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201" y="1591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" y="34"/>
            <a:ext cx="119063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>
              <a:spcBef>
                <a:spcPts val="225"/>
              </a:spcBef>
              <a:spcAft>
                <a:spcPts val="225"/>
              </a:spcAft>
            </a:pPr>
            <a:endParaRPr lang="fr-FR" sz="19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5479" y="6278573"/>
            <a:ext cx="54589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16052" y="499988"/>
            <a:ext cx="831189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4" y="0"/>
            <a:ext cx="9142857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94"/>
              <a:endParaRPr lang="fr-FR" sz="140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94"/>
              <a:endParaRPr lang="fr-FR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416052" y="137562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490805" y="2170800"/>
            <a:ext cx="2286940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94"/>
            <a:r>
              <a:rPr lang="fr-FR">
                <a:solidFill>
                  <a:srgbClr val="000000"/>
                </a:solidFill>
              </a:rPr>
              <a:t>Titre</a:t>
            </a:r>
            <a:br>
              <a:rPr lang="fr-FR">
                <a:solidFill>
                  <a:srgbClr val="000000"/>
                </a:solidFill>
              </a:rPr>
            </a:br>
            <a:r>
              <a:rPr lang="fr-FR" sz="1100" b="0">
                <a:solidFill>
                  <a:srgbClr val="000000"/>
                </a:solidFill>
              </a:rPr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66" y="2170801"/>
            <a:ext cx="2144621" cy="10259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/>
        </p:nvGrpSpPr>
        <p:grpSpPr>
          <a:xfrm>
            <a:off x="7663471" y="3288629"/>
            <a:ext cx="1092563" cy="912120"/>
            <a:chOff x="10162879" y="3266856"/>
            <a:chExt cx="1456750" cy="912118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1" y="3266856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1" y="3638277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1" y="4009697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defTabSz="685494"/>
              <a:endParaRPr lang="fr-FR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/>
        </p:nvGrpSpPr>
        <p:grpSpPr>
          <a:xfrm>
            <a:off x="7941749" y="1375469"/>
            <a:ext cx="814305" cy="1731859"/>
            <a:chOff x="7723680" y="1702457"/>
            <a:chExt cx="1085740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3289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10835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83819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59424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34885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494"/>
                <a:endParaRPr lang="fr-FR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/>
        </p:nvGrpSpPr>
        <p:grpSpPr>
          <a:xfrm>
            <a:off x="7961599" y="4402873"/>
            <a:ext cx="794441" cy="1673018"/>
            <a:chOff x="10652400" y="4344182"/>
            <a:chExt cx="1059254" cy="1673015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94"/>
              <a:endParaRPr lang="fr-FR" sz="1100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45911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25406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104907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76327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47747"/>
              <a:ext cx="733108" cy="16927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685494">
                <a:spcAft>
                  <a:spcPts val="450"/>
                </a:spcAft>
              </a:pPr>
              <a:r>
                <a:rPr lang="fr-FR" sz="1100">
                  <a:solidFill>
                    <a:srgbClr val="000000"/>
                  </a:solidFill>
                </a:rPr>
                <a:t>Légen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2100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</p:sldLayoutIdLst>
  <p:txStyles>
    <p:titleStyle>
      <a:lvl1pPr algn="l" defTabSz="685494" rtl="0" eaLnBrk="1" latinLnBrk="0" hangingPunct="1">
        <a:lnSpc>
          <a:spcPct val="100000"/>
        </a:lnSpc>
        <a:spcBef>
          <a:spcPct val="0"/>
        </a:spcBef>
        <a:buNone/>
        <a:defRPr lang="fr-FR" sz="19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494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37105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95000"/>
        <a:buFont typeface="Arial" panose="020B0604020202020204" pitchFamily="34" charset="0"/>
        <a:buChar char="►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4211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11300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48397" indent="-137105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028" indent="-128534" algn="l" defTabSz="68549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94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4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88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43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8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2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6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marL="7200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080000" marR="0" lvl="2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440000" marR="0" lvl="3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1800000" marR="0" lvl="4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504" y="6333324"/>
            <a:ext cx="28733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6E7B68-C406-4B5C-B79D-A1CDE10CB85D}" type="slidenum">
              <a:rPr/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8753" y="6333324"/>
            <a:ext cx="595305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ea typeface="Geneva" charset="-128"/>
              </a:rPr>
              <a:t>Présentation </a:t>
            </a:r>
            <a:r>
              <a:rPr lang="fr-FR" dirty="0" err="1">
                <a:ea typeface="Geneva" charset="-128"/>
              </a:rPr>
              <a:t>générale_Mon</a:t>
            </a:r>
            <a:r>
              <a:rPr lang="fr-FR" dirty="0">
                <a:ea typeface="Geneva" charset="-128"/>
              </a:rPr>
              <a:t> espace santé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116632"/>
            <a:ext cx="8064092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10BD66F-B89C-43BD-A224-C1364D63253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70945" y="6021290"/>
            <a:ext cx="720079" cy="75048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10DAD4F-20FB-4F5E-84B2-7CECA99BD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24719" b="23896"/>
          <a:stretch/>
        </p:blipFill>
        <p:spPr>
          <a:xfrm>
            <a:off x="8100395" y="6021288"/>
            <a:ext cx="997643" cy="51349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243E6BC-6888-406A-B31F-4F493CFF85E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128327" y="6105923"/>
            <a:ext cx="997643" cy="47934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F027519-2995-47EC-BD46-A79C807CE113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178533" y="22461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450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</p:sldLayoutIdLst>
  <p:transition>
    <p:fade/>
  </p:transition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18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24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720000" marR="0" indent="-28575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18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080000" marR="0" indent="-252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1600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440000" marR="0" indent="-216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400" kern="1200">
          <a:solidFill>
            <a:srgbClr val="575757"/>
          </a:solidFill>
          <a:latin typeface="+mn-lt"/>
          <a:ea typeface="+mn-ea"/>
          <a:cs typeface="+mn-cs"/>
        </a:defRPr>
      </a:lvl4pPr>
      <a:lvl5pPr marL="1800000" marR="0" indent="-21600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200" kern="1200">
          <a:solidFill>
            <a:srgbClr val="57575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marL="7200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080000" marR="0" lvl="2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440000" marR="0" lvl="3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1800000" marR="0" lvl="4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504" y="6333324"/>
            <a:ext cx="28733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6E7B68-C406-4B5C-B79D-A1CDE10CB85D}" type="slidenum">
              <a:rPr/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8753" y="6333324"/>
            <a:ext cx="595305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>
                <a:ea typeface="Geneva" charset="-128"/>
              </a:rPr>
              <a:t>| Titre du document</a:t>
            </a:r>
            <a:endParaRPr lang="fr-FR" dirty="0">
              <a:ea typeface="Geneva" charset="-128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116632"/>
            <a:ext cx="8064092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10BD66F-B89C-43BD-A224-C1364D63253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370946" y="6021296"/>
            <a:ext cx="720079" cy="75048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10DAD4F-20FB-4F5E-84B2-7CECA99BD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t="24719" b="23896"/>
          <a:stretch/>
        </p:blipFill>
        <p:spPr>
          <a:xfrm>
            <a:off x="8100403" y="6021288"/>
            <a:ext cx="997643" cy="51349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243E6BC-6888-406A-B31F-4F493CFF8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128335" y="6105923"/>
            <a:ext cx="997643" cy="47934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5580112" y="5517232"/>
            <a:ext cx="3600400" cy="13407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242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</p:sldLayoutIdLst>
  <p:transition>
    <p:fade/>
  </p:transition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18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24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720000" marR="0" indent="-28575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18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080000" marR="0" indent="-252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1600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440000" marR="0" indent="-216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400" kern="1200">
          <a:solidFill>
            <a:srgbClr val="575757"/>
          </a:solidFill>
          <a:latin typeface="+mn-lt"/>
          <a:ea typeface="+mn-ea"/>
          <a:cs typeface="+mn-cs"/>
        </a:defRPr>
      </a:lvl4pPr>
      <a:lvl5pPr marL="1800000" marR="0" indent="-21600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200" kern="1200">
          <a:solidFill>
            <a:srgbClr val="57575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24745"/>
            <a:ext cx="8064896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marL="7200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080000" marR="0" lvl="2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440000" marR="0" lvl="3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1800000" marR="0" lvl="4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504" y="6333324"/>
            <a:ext cx="28733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6E7B68-C406-4B5C-B79D-A1CDE10CB85D}" type="slidenum">
              <a:rPr/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8753" y="6333324"/>
            <a:ext cx="595305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>
                <a:ea typeface="Geneva" charset="-128"/>
              </a:rPr>
              <a:t>| Titre du document</a:t>
            </a:r>
            <a:endParaRPr lang="fr-FR" dirty="0">
              <a:ea typeface="Geneva" charset="-128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116632"/>
            <a:ext cx="8064092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46140" y="932723"/>
            <a:ext cx="88533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10BD66F-B89C-43BD-A224-C1364D63253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370946" y="6021293"/>
            <a:ext cx="720079" cy="75048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10DAD4F-20FB-4F5E-84B2-7CECA99BD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t="24719" b="23896"/>
          <a:stretch/>
        </p:blipFill>
        <p:spPr>
          <a:xfrm>
            <a:off x="8100399" y="6021288"/>
            <a:ext cx="997643" cy="51349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243E6BC-6888-406A-B31F-4F493CFF8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128331" y="6105923"/>
            <a:ext cx="997643" cy="47934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6147C29-5056-4B5A-8AFE-5074B038AA5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43873" y="76393"/>
            <a:ext cx="964637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28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</p:sldLayoutIdLst>
  <p:transition>
    <p:fade/>
  </p:transition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18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24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720000" marR="0" indent="-28575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18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080000" marR="0" indent="-252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1600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440000" marR="0" indent="-216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400" kern="1200">
          <a:solidFill>
            <a:srgbClr val="575757"/>
          </a:solidFill>
          <a:latin typeface="+mn-lt"/>
          <a:ea typeface="+mn-ea"/>
          <a:cs typeface="+mn-cs"/>
        </a:defRPr>
      </a:lvl4pPr>
      <a:lvl5pPr marL="1800000" marR="0" indent="-21600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200" kern="1200">
          <a:solidFill>
            <a:srgbClr val="57575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1"/>
          <p:cNvSpPr txBox="1">
            <a:spLocks noChangeArrowheads="1"/>
          </p:cNvSpPr>
          <p:nvPr/>
        </p:nvSpPr>
        <p:spPr bwMode="auto">
          <a:xfrm>
            <a:off x="171888" y="1592796"/>
            <a:ext cx="8496944" cy="169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 marL="534988" indent="-533400" eaLnBrk="0" hangingPunct="0">
              <a:spcBef>
                <a:spcPts val="425"/>
              </a:spcBef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1700">
                <a:solidFill>
                  <a:srgbClr val="000000"/>
                </a:solidFill>
                <a:latin typeface="Arial" charset="0"/>
                <a:ea typeface="Microsoft YaHei" pitchFamily="34" charset="-122"/>
              </a:defRPr>
            </a:lvl1pPr>
            <a:lvl2pPr eaLnBrk="0" hangingPunct="0">
              <a:spcBef>
                <a:spcPts val="375"/>
              </a:spcBef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1500">
                <a:solidFill>
                  <a:srgbClr val="000000"/>
                </a:solidFill>
                <a:latin typeface="Arial" charset="0"/>
                <a:ea typeface="Microsoft YaHei" pitchFamily="34" charset="-122"/>
              </a:defRPr>
            </a:lvl2pPr>
            <a:lvl3pPr eaLnBrk="0" hangingPunct="0">
              <a:spcBef>
                <a:spcPts val="300"/>
              </a:spcBef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1200">
                <a:solidFill>
                  <a:srgbClr val="000000"/>
                </a:solidFill>
                <a:latin typeface="Arial" charset="0"/>
                <a:ea typeface="Microsoft YaHei" pitchFamily="34" charset="-122"/>
              </a:defRPr>
            </a:lvl3pPr>
            <a:lvl4pPr eaLnBrk="0" hangingPunct="0">
              <a:spcBef>
                <a:spcPts val="500"/>
              </a:spcBef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4pPr>
            <a:lvl5pPr eaLnBrk="0" hangingPunct="0">
              <a:spcBef>
                <a:spcPts val="500"/>
              </a:spcBef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1023938" algn="l"/>
                <a:tab pos="1536700" algn="l"/>
                <a:tab pos="2049463" algn="l"/>
                <a:tab pos="2562225" algn="l"/>
                <a:tab pos="3074988" algn="l"/>
                <a:tab pos="3587750" algn="l"/>
                <a:tab pos="4100513" algn="l"/>
                <a:tab pos="4613275" algn="l"/>
                <a:tab pos="5126038" algn="l"/>
                <a:tab pos="5638800" algn="l"/>
                <a:tab pos="6151563" algn="l"/>
                <a:tab pos="6664325" algn="l"/>
                <a:tab pos="7177088" algn="l"/>
                <a:tab pos="7689850" algn="l"/>
                <a:tab pos="8202613" algn="l"/>
                <a:tab pos="8715375" algn="l"/>
                <a:tab pos="9228138" algn="l"/>
                <a:tab pos="9740900" algn="l"/>
                <a:tab pos="10253663" algn="l"/>
                <a:tab pos="10766425" algn="l"/>
              </a:tabLst>
              <a:defRPr sz="200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9pPr>
          </a:lstStyle>
          <a:p>
            <a:pPr algn="ctr"/>
            <a:r>
              <a:rPr lang="fr-FR" altLang="fr-FR" sz="4000" b="1" dirty="0">
                <a:solidFill>
                  <a:srgbClr val="92D050"/>
                </a:solidFill>
              </a:rPr>
              <a:t>Retour sur la </a:t>
            </a:r>
            <a:r>
              <a:rPr lang="fr-FR" sz="4000" b="1" dirty="0">
                <a:solidFill>
                  <a:srgbClr val="92D050"/>
                </a:solidFill>
              </a:rPr>
              <a:t>Journée régionale </a:t>
            </a:r>
          </a:p>
          <a:p>
            <a:pPr algn="ctr"/>
            <a:r>
              <a:rPr lang="fr-FR" sz="4000" b="1" dirty="0">
                <a:solidFill>
                  <a:srgbClr val="92D050"/>
                </a:solidFill>
              </a:rPr>
              <a:t>des droits des usagers 2026</a:t>
            </a:r>
          </a:p>
          <a:p>
            <a:pPr algn="ctr"/>
            <a:endParaRPr lang="fr-FR" sz="2800" b="1" dirty="0">
              <a:solidFill>
                <a:srgbClr val="92D050"/>
              </a:solidFill>
            </a:endParaRPr>
          </a:p>
          <a:p>
            <a:pPr algn="ctr"/>
            <a:endParaRPr lang="fr-FR" sz="4000" b="1" dirty="0">
              <a:solidFill>
                <a:srgbClr val="92D050"/>
              </a:solidFill>
            </a:endParaRPr>
          </a:p>
          <a:p>
            <a:endParaRPr lang="fr-FR" sz="2000" b="1" dirty="0">
              <a:solidFill>
                <a:schemeClr val="tx1"/>
              </a:solidFill>
            </a:endParaRPr>
          </a:p>
          <a:p>
            <a:pPr algn="ctr"/>
            <a:endParaRPr lang="fr-FR" sz="4000" b="1" dirty="0">
              <a:solidFill>
                <a:srgbClr val="92D050"/>
              </a:solidFill>
            </a:endParaRPr>
          </a:p>
          <a:p>
            <a:pPr lvl="0"/>
            <a:endParaRPr lang="fr-FR" sz="4000" b="1" dirty="0">
              <a:solidFill>
                <a:srgbClr val="92D05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B4D1118-3CAE-E8AB-227E-22176B362C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573016"/>
            <a:ext cx="8005508" cy="26155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877963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1019164-4E7C-17AA-494F-206AB97FCA9A}"/>
              </a:ext>
            </a:extLst>
          </p:cNvPr>
          <p:cNvSpPr txBox="1"/>
          <p:nvPr/>
        </p:nvSpPr>
        <p:spPr>
          <a:xfrm>
            <a:off x="215516" y="332656"/>
            <a:ext cx="7741876" cy="59246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FR" sz="1900" b="1" dirty="0">
                <a:solidFill>
                  <a:schemeClr val="accent6"/>
                </a:solidFill>
              </a:rPr>
              <a:t>Les points forts de la journée : 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Témoignages concrets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Place des personnes concernées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Diversité des profils et des structures, diversité autour d'un même sujet</a:t>
            </a:r>
          </a:p>
          <a:p>
            <a:pPr algn="just"/>
            <a:r>
              <a:rPr lang="fr-FR" sz="1600" dirty="0"/>
              <a:t>-    Présence d’experts</a:t>
            </a:r>
          </a:p>
          <a:p>
            <a:pPr marL="273050" indent="-273050" algn="just"/>
            <a:r>
              <a:rPr lang="fr-FR" sz="1600" dirty="0"/>
              <a:t>- 	Les tables rondes de l'après-midi étaient vraiment de qualité, dans le concret. Pour le matin, moins parlant 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Qualité des intervenants sur la pair-</a:t>
            </a:r>
            <a:r>
              <a:rPr lang="fr-FR" sz="1600" dirty="0" err="1"/>
              <a:t>aidance</a:t>
            </a:r>
            <a:r>
              <a:rPr lang="fr-FR" sz="1600" dirty="0"/>
              <a:t> : très pertinents, parfois émouvants et grande clarté dans leurs témoignages. « Ils m'ont donnés l'envie d'être aidant ! », Prise de parole des usagers (Mme Chapelle et Mme Royer, particulièrement intéressantes)</a:t>
            </a:r>
          </a:p>
          <a:p>
            <a:pPr marL="285750" indent="-285750" algn="just">
              <a:buFontTx/>
              <a:buChar char="-"/>
            </a:pPr>
            <a:endParaRPr lang="fr-FR" sz="800" dirty="0"/>
          </a:p>
          <a:p>
            <a:pPr marL="2060575" algn="just">
              <a:buFontTx/>
              <a:buChar char="-"/>
            </a:pPr>
            <a:r>
              <a:rPr lang="fr-FR" sz="1600" dirty="0"/>
              <a:t> Artois Expo facile d'accès et parking ++, salle adaptée, écran de chaque côté, bonne sonorisation</a:t>
            </a:r>
          </a:p>
          <a:p>
            <a:pPr marL="2060575" algn="just">
              <a:buFontTx/>
              <a:buChar char="-"/>
            </a:pPr>
            <a:r>
              <a:rPr lang="fr-FR" sz="1600" dirty="0"/>
              <a:t> Accessibilité LSF</a:t>
            </a:r>
          </a:p>
          <a:p>
            <a:pPr marL="285750" indent="-285750" algn="just">
              <a:buFontTx/>
              <a:buChar char="-"/>
            </a:pPr>
            <a:endParaRPr lang="fr-FR" sz="800" dirty="0"/>
          </a:p>
          <a:p>
            <a:pPr marL="285750" indent="-285750" algn="just">
              <a:buFontTx/>
              <a:buChar char="-"/>
            </a:pPr>
            <a:r>
              <a:rPr lang="fr-FR" sz="1600" dirty="0"/>
              <a:t>Présentateur qui a bien su mettre une dynamique et du punch dans les discussions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Animation dynamique par le binôme Animateur / grand Témoin</a:t>
            </a:r>
          </a:p>
          <a:p>
            <a:pPr marL="285750" indent="-285750" algn="just">
              <a:buFontTx/>
              <a:buChar char="-"/>
            </a:pPr>
            <a:r>
              <a:rPr lang="fr-FR" sz="1600" dirty="0"/>
              <a:t>Respect des horaires</a:t>
            </a:r>
          </a:p>
          <a:p>
            <a:pPr marL="285750" indent="-285750" algn="just">
              <a:buFontTx/>
              <a:buChar char="-"/>
            </a:pPr>
            <a:endParaRPr lang="fr-FR" sz="800" dirty="0"/>
          </a:p>
          <a:p>
            <a:pPr marL="1976438" algn="just">
              <a:buFontTx/>
              <a:buChar char="-"/>
            </a:pPr>
            <a:r>
              <a:rPr lang="fr-FR" sz="1600" dirty="0"/>
              <a:t>  Organisation de qualité, Accueil et information au top</a:t>
            </a:r>
          </a:p>
          <a:p>
            <a:pPr marL="1976438" algn="just">
              <a:buFontTx/>
              <a:buChar char="-"/>
            </a:pPr>
            <a:r>
              <a:rPr lang="fr-FR" sz="1600" dirty="0"/>
              <a:t> Passage des serveurs dans la salle permettant la restauration aux personnes à mobilité réduite</a:t>
            </a:r>
          </a:p>
          <a:p>
            <a:pPr marL="1976438" algn="just">
              <a:buFontTx/>
              <a:buChar char="-"/>
            </a:pPr>
            <a:r>
              <a:rPr lang="fr-FR" sz="1600" dirty="0"/>
              <a:t> Petit cadeau de bienvenu (sac)</a:t>
            </a:r>
          </a:p>
        </p:txBody>
      </p:sp>
    </p:spTree>
    <p:extLst>
      <p:ext uri="{BB962C8B-B14F-4D97-AF65-F5344CB8AC3E}">
        <p14:creationId xmlns:p14="http://schemas.microsoft.com/office/powerpoint/2010/main" val="27205229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73EFF7-D095-C514-EB4D-9BC183730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A2327-D0BD-EA2A-9F4F-08C24A91A108}"/>
              </a:ext>
            </a:extLst>
          </p:cNvPr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C08700-57C0-C6B0-69A7-A51B4C3FDCD2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0355BE-A384-CD26-1088-7C493A61494D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AAB94D-E1DB-FCAF-74EA-FEC170222760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D7B213A-878E-A906-18D9-57C85C12B3CB}"/>
              </a:ext>
            </a:extLst>
          </p:cNvPr>
          <p:cNvSpPr txBox="1"/>
          <p:nvPr/>
        </p:nvSpPr>
        <p:spPr>
          <a:xfrm>
            <a:off x="203153" y="476672"/>
            <a:ext cx="8511569" cy="62170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FR" sz="1900" b="1" dirty="0">
                <a:solidFill>
                  <a:schemeClr val="accent6"/>
                </a:solidFill>
              </a:rPr>
              <a:t>Les points de la journée à améliorer : </a:t>
            </a:r>
          </a:p>
          <a:p>
            <a:endParaRPr lang="fr-FR" sz="1900" b="1" dirty="0">
              <a:solidFill>
                <a:schemeClr val="accent6"/>
              </a:solidFill>
            </a:endParaRPr>
          </a:p>
          <a:p>
            <a:endParaRPr lang="fr-FR" sz="1900" b="1" dirty="0">
              <a:solidFill>
                <a:schemeClr val="accent6"/>
              </a:solidFill>
            </a:endParaRPr>
          </a:p>
          <a:p>
            <a:pPr marL="285750" indent="-285750" algn="just">
              <a:buFontTx/>
              <a:buChar char="-"/>
            </a:pPr>
            <a:endParaRPr lang="fr-FR" sz="1300" dirty="0">
              <a:solidFill>
                <a:srgbClr val="FF0000"/>
              </a:solidFill>
            </a:endParaRPr>
          </a:p>
          <a:p>
            <a:pPr marL="179388" indent="-179388" algn="just">
              <a:buFontTx/>
              <a:buChar char="-"/>
            </a:pPr>
            <a:r>
              <a:rPr lang="fr-FR" sz="1600" dirty="0"/>
              <a:t>Il aurait été intéressant d'avoir également une table ronde et une discussion concernant l'autodétermination chez les  enfants ou adolescents en établissement médico social</a:t>
            </a:r>
          </a:p>
          <a:p>
            <a:pPr marL="179388" indent="-179388" algn="just">
              <a:buFontTx/>
              <a:buChar char="-"/>
            </a:pPr>
            <a:r>
              <a:rPr lang="fr-FR" sz="1600" dirty="0"/>
              <a:t>J'aurais aimé avoir des outils concrets comme des support ou cartes afin d'aider les équipes à la mise en œuvre</a:t>
            </a:r>
          </a:p>
          <a:p>
            <a:pPr marL="179388" indent="-179388" algn="just">
              <a:buFontTx/>
              <a:buChar char="-"/>
            </a:pPr>
            <a:r>
              <a:rPr lang="fr-FR" sz="1600" dirty="0"/>
              <a:t>J'aurais aimé que l'on parle plus "des droits des patients" en tant que tels</a:t>
            </a:r>
          </a:p>
          <a:p>
            <a:pPr marL="179388" indent="-179388" algn="just">
              <a:buFontTx/>
              <a:buChar char="-"/>
            </a:pPr>
            <a:r>
              <a:rPr lang="fr-FR" sz="1600" dirty="0"/>
              <a:t>Moins focus sur le médico sanitaire et plus équilibre vers les usagers du quotidien des hôpitaux CDU</a:t>
            </a:r>
          </a:p>
          <a:p>
            <a:pPr marL="179388" indent="-179388" algn="just">
              <a:buFontTx/>
              <a:buChar char="-"/>
            </a:pPr>
            <a:endParaRPr lang="fr-FR" sz="1000" dirty="0"/>
          </a:p>
          <a:p>
            <a:pPr marL="179388" indent="-179388" algn="just">
              <a:buFontTx/>
              <a:buChar char="-"/>
            </a:pPr>
            <a:r>
              <a:rPr lang="fr-FR" sz="1600" dirty="0"/>
              <a:t>Répartir les PMR en fauteuil sur les espaces latéraux pour éviter de bloquer le passage</a:t>
            </a:r>
          </a:p>
          <a:p>
            <a:pPr marL="179388" indent="-179388" algn="just">
              <a:buFontTx/>
              <a:buChar char="-"/>
            </a:pPr>
            <a:r>
              <a:rPr lang="fr-FR" sz="1600" dirty="0"/>
              <a:t>Salle sombre, les strapontins n'étaient pas très confortables; Peu de place pour les personnes de grande taille, régulation thermique grande salle, fauteuils de la zone d'accueil inaccessible à certaines personnes (trop bas  : difficultés à se relever),  fontaines à eau</a:t>
            </a:r>
          </a:p>
          <a:p>
            <a:pPr marL="179388" indent="-179388" algn="just">
              <a:buFontTx/>
              <a:buChar char="-"/>
            </a:pPr>
            <a:endParaRPr lang="fr-FR" sz="1000" dirty="0"/>
          </a:p>
          <a:p>
            <a:pPr marL="179388" indent="-179388" algn="just"/>
            <a:r>
              <a:rPr lang="fr-FR" sz="1600" dirty="0"/>
              <a:t>- Temps du midi à augmenter pour les exposants / Démarrer un peu plus tard la plénière et ouvrir les stands dès le café d'accueil ?</a:t>
            </a:r>
          </a:p>
          <a:p>
            <a:pPr algn="just"/>
            <a:endParaRPr lang="fr-FR" sz="1000" dirty="0"/>
          </a:p>
          <a:p>
            <a:pPr marL="179388" indent="-179388" algn="just">
              <a:buFontTx/>
              <a:buChar char="-"/>
            </a:pPr>
            <a:r>
              <a:rPr lang="fr-FR" sz="1600" dirty="0"/>
              <a:t>Orientation à l'entrée entre l'émargement grand public et l'émargement VIP et autres</a:t>
            </a:r>
          </a:p>
          <a:p>
            <a:pPr marL="179388" indent="-179388" algn="just">
              <a:buFontTx/>
              <a:buChar char="-"/>
            </a:pPr>
            <a:endParaRPr lang="fr-FR" sz="1000" dirty="0"/>
          </a:p>
          <a:p>
            <a:pPr marL="179388" indent="-179388" algn="just">
              <a:buFontTx/>
              <a:buChar char="-"/>
            </a:pPr>
            <a:r>
              <a:rPr lang="fr-FR" sz="1600" dirty="0"/>
              <a:t>Ayant des intolérances alimentaires, je suis allée manger à l’extérieur </a:t>
            </a:r>
          </a:p>
          <a:p>
            <a:pPr marL="179388" indent="-179388" algn="just">
              <a:buFontTx/>
              <a:buChar char="-"/>
            </a:pPr>
            <a:r>
              <a:rPr lang="fr-FR" sz="1600" dirty="0"/>
              <a:t>Il serait bien de consommer moins de produits panifiés et plus de produits naturels (salades de riz, de tomates,...) et proposer des fruits frais</a:t>
            </a:r>
            <a:endParaRPr lang="fr-FR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40303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FD7835-5A94-DF82-EC60-AAF2158457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713AC3F-01B2-769C-DFA3-29F005EF765B}"/>
              </a:ext>
            </a:extLst>
          </p:cNvPr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8CEDB5-538E-379A-2E29-1ABB6E9A050F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E1D03B-711A-D203-1B5E-CE4EEFA20A45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900A5F-0110-01E7-859F-775738C7EA2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43C681C6-8C1B-9F90-6338-CEC2486556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792" y="1472565"/>
            <a:ext cx="3558848" cy="451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3496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B47144C-80F5-0201-8675-40E2C5DE4F1A}"/>
              </a:ext>
            </a:extLst>
          </p:cNvPr>
          <p:cNvSpPr txBox="1"/>
          <p:nvPr/>
        </p:nvSpPr>
        <p:spPr>
          <a:xfrm>
            <a:off x="215516" y="640913"/>
            <a:ext cx="8466598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0070C0"/>
                </a:solidFill>
              </a:rPr>
              <a:t>Les thèmes à aborder lors d’une prochaine Journée :</a:t>
            </a:r>
          </a:p>
          <a:p>
            <a:endParaRPr lang="fr-FR" sz="1200" dirty="0"/>
          </a:p>
          <a:p>
            <a:r>
              <a:rPr lang="fr-FR" sz="1600" b="1" dirty="0"/>
              <a:t>1. Santé mentale et psychiatrie</a:t>
            </a:r>
          </a:p>
          <a:p>
            <a:r>
              <a:rPr lang="fr-FR" sz="1600" dirty="0"/>
              <a:t>Les directives anticipées en psychiatrie </a:t>
            </a:r>
          </a:p>
          <a:p>
            <a:r>
              <a:rPr lang="fr-FR" sz="1600" dirty="0"/>
              <a:t>Isolement et contention </a:t>
            </a:r>
          </a:p>
          <a:p>
            <a:r>
              <a:rPr lang="fr-FR" sz="1600" dirty="0"/>
              <a:t>La psychiatrie et les difficultés de prise en charge, stigmatisation en santé mentale pour l'accès aux soins </a:t>
            </a:r>
          </a:p>
          <a:p>
            <a:r>
              <a:rPr lang="fr-FR" sz="1600" dirty="0"/>
              <a:t>La différence entre handicap mental et maladie mentale</a:t>
            </a:r>
          </a:p>
          <a:p>
            <a:endParaRPr lang="fr-FR" sz="1600" dirty="0"/>
          </a:p>
          <a:p>
            <a:r>
              <a:rPr lang="fr-FR" sz="1600" b="1" dirty="0"/>
              <a:t>2. Handicap, TND et parcours de vie</a:t>
            </a:r>
          </a:p>
          <a:p>
            <a:r>
              <a:rPr lang="fr-FR" sz="1600" dirty="0"/>
              <a:t>Les divers aspects des TND </a:t>
            </a:r>
          </a:p>
          <a:p>
            <a:r>
              <a:rPr lang="fr-FR" sz="1600" dirty="0"/>
              <a:t>Le vieillissement des personnes en situation de handicap </a:t>
            </a:r>
          </a:p>
          <a:p>
            <a:r>
              <a:rPr lang="fr-FR" sz="1600" dirty="0"/>
              <a:t>Que veut dire le mot « Inclusion »</a:t>
            </a:r>
          </a:p>
          <a:p>
            <a:endParaRPr lang="fr-FR" sz="1600" dirty="0"/>
          </a:p>
          <a:p>
            <a:r>
              <a:rPr lang="fr-FR" sz="1600" b="1" dirty="0"/>
              <a:t>3. Droits des usagers et participation</a:t>
            </a:r>
          </a:p>
          <a:p>
            <a:r>
              <a:rPr lang="fr-FR" sz="1600" dirty="0"/>
              <a:t>La représentation des usagers par les associations de personnes concernées </a:t>
            </a:r>
          </a:p>
          <a:p>
            <a:r>
              <a:rPr lang="fr-FR" sz="1600" dirty="0"/>
              <a:t>Mesure de protection et santé (consentement au soin, accessibilité de l'information en santé, participation aux directives anticipées, etc.) </a:t>
            </a:r>
          </a:p>
          <a:p>
            <a:r>
              <a:rPr lang="fr-FR" sz="1600" dirty="0"/>
              <a:t>La personne de confiance du sanitaire et du médico-social : 2 entités différentes </a:t>
            </a:r>
          </a:p>
          <a:p>
            <a:r>
              <a:rPr lang="fr-FR" sz="1600" dirty="0"/>
              <a:t>Les directives anticipées</a:t>
            </a:r>
          </a:p>
          <a:p>
            <a:r>
              <a:rPr lang="fr-FR" sz="1600" dirty="0"/>
              <a:t>Souligner les progrès en cours ou déjà réalisés sur les droits des usagers puis une synthèse du RADU</a:t>
            </a:r>
          </a:p>
          <a:p>
            <a:r>
              <a:rPr lang="fr-FR" sz="1600" dirty="0"/>
              <a:t>Comment s'exerce la démocratie sanitaire ? A quoi servent les CTS? la CRSA? ... quels pouvoirs ont-ils?</a:t>
            </a:r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0716070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83B074-68AC-0D84-1E51-36F26CAE6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061AEC-E1BF-8E78-D36A-E6314153D1DA}"/>
              </a:ext>
            </a:extLst>
          </p:cNvPr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CB1E4-61DD-CC4D-B9B0-D7DDB22F29FB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618776-E783-795F-A713-9CBC5E0E341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4E4CC0-CEAC-79D5-48B7-872017208217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F2C8023-FB16-57F2-019A-3F02542A60F0}"/>
              </a:ext>
            </a:extLst>
          </p:cNvPr>
          <p:cNvSpPr txBox="1"/>
          <p:nvPr/>
        </p:nvSpPr>
        <p:spPr>
          <a:xfrm>
            <a:off x="281705" y="1287899"/>
            <a:ext cx="8466598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0070C0"/>
                </a:solidFill>
              </a:rPr>
              <a:t>Les thèmes à aborder lors d’une prochaine Journée :</a:t>
            </a:r>
          </a:p>
          <a:p>
            <a:endParaRPr lang="fr-FR" sz="1200" dirty="0"/>
          </a:p>
          <a:p>
            <a:r>
              <a:rPr lang="fr-FR" sz="1600" b="1" dirty="0"/>
              <a:t>4. Communication et accessibilité</a:t>
            </a:r>
          </a:p>
          <a:p>
            <a:r>
              <a:rPr lang="fr-FR" sz="1600" dirty="0"/>
              <a:t>Communication Alternative Améliorée </a:t>
            </a:r>
          </a:p>
          <a:p>
            <a:r>
              <a:rPr lang="fr-FR" sz="1600" dirty="0"/>
              <a:t>Accessibilité de l'information en santé (lié aussi aux droits des usagers)</a:t>
            </a:r>
          </a:p>
          <a:p>
            <a:endParaRPr lang="fr-FR" sz="1600" dirty="0"/>
          </a:p>
          <a:p>
            <a:r>
              <a:rPr lang="fr-FR" sz="1600" b="1" dirty="0"/>
              <a:t>5. Organisation des pratiques et qualité des soins</a:t>
            </a:r>
          </a:p>
          <a:p>
            <a:r>
              <a:rPr lang="fr-FR" sz="1600" dirty="0"/>
              <a:t>Dynamique d'amélioration des pratiques </a:t>
            </a:r>
          </a:p>
          <a:p>
            <a:r>
              <a:rPr lang="fr-FR" sz="1600" dirty="0"/>
              <a:t>Comment organiser et sous quelle forme innovante des temps de rencontre au sein des établissements pour les usagers </a:t>
            </a:r>
          </a:p>
          <a:p>
            <a:r>
              <a:rPr lang="fr-FR" sz="1600" dirty="0"/>
              <a:t>Les approches thérapeutiques alternatives</a:t>
            </a:r>
          </a:p>
          <a:p>
            <a:endParaRPr lang="fr-FR" sz="1600" dirty="0"/>
          </a:p>
          <a:p>
            <a:r>
              <a:rPr lang="fr-FR" sz="1600" b="1" dirty="0"/>
              <a:t>6. Prévention et repérage</a:t>
            </a:r>
          </a:p>
          <a:p>
            <a:r>
              <a:rPr lang="fr-FR" sz="1600" dirty="0"/>
              <a:t>Dépistage précoce et usagers</a:t>
            </a:r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59515442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5688793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r>
              <a:rPr lang="fr-FR" sz="1600" dirty="0">
                <a:solidFill>
                  <a:srgbClr val="002395"/>
                </a:solidFill>
                <a:latin typeface="Arial" panose="020B0604020202020204" pitchFamily="34" charset="0"/>
              </a:rPr>
              <a:t>Envoyé du 10 avril au 20 avril 2026 + prolongation</a:t>
            </a:r>
          </a:p>
          <a:p>
            <a:pPr>
              <a:tabLst>
                <a:tab pos="265113" algn="l"/>
              </a:tabLst>
            </a:pPr>
            <a:endParaRPr lang="fr-FR" sz="1600" dirty="0">
              <a:solidFill>
                <a:srgbClr val="002395"/>
              </a:solidFill>
              <a:latin typeface="Arial" panose="020B0604020202020204" pitchFamily="34" charset="0"/>
            </a:endParaRPr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r>
              <a:rPr lang="fr-FR" sz="1600" dirty="0">
                <a:solidFill>
                  <a:srgbClr val="002395"/>
                </a:solidFill>
                <a:latin typeface="Arial" panose="020B0604020202020204" pitchFamily="34" charset="0"/>
              </a:rPr>
              <a:t>166 retours / </a:t>
            </a:r>
            <a:r>
              <a:rPr lang="fr-FR" sz="1600" b="1" dirty="0">
                <a:solidFill>
                  <a:srgbClr val="002395"/>
                </a:solidFill>
                <a:latin typeface="Arial" panose="020B0604020202020204" pitchFamily="34" charset="0"/>
              </a:rPr>
              <a:t>Taux de retour =  47,4%</a:t>
            </a:r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FB4E755-CF22-8738-AAF2-5D8F311EE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3084" y="116632"/>
            <a:ext cx="3673158" cy="587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61743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ED2FBE1-7679-C88F-CB0B-13983B8DE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388" y="1588863"/>
            <a:ext cx="3795089" cy="333784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B83106D-9E1F-072A-9D96-00C4835512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813" y="5038552"/>
            <a:ext cx="3436918" cy="142506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2845FE6-9589-A31F-16DB-977FD143F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158" y="1079548"/>
            <a:ext cx="3314987" cy="58679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0324DBB-103E-32A3-D4B6-7E9BDC3B59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9525" y="84044"/>
            <a:ext cx="3905399" cy="622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4515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2BCCB49-E1DD-E903-FB6A-D8717B142C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34" y="1693822"/>
            <a:ext cx="4176625" cy="497348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F143191-61BE-0DB8-18F6-6761D9EC4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8425" y="55466"/>
            <a:ext cx="3964474" cy="5051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43024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292AA48-D791-C3A8-B9DA-216E11889DFD}"/>
              </a:ext>
            </a:extLst>
          </p:cNvPr>
          <p:cNvSpPr txBox="1"/>
          <p:nvPr/>
        </p:nvSpPr>
        <p:spPr>
          <a:xfrm>
            <a:off x="35335" y="6397239"/>
            <a:ext cx="9108665" cy="2923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FR" sz="1300" i="1" dirty="0">
                <a:solidFill>
                  <a:schemeClr val="tx2"/>
                </a:solidFill>
              </a:rPr>
              <a:t>Très insatisfaisant </a:t>
            </a:r>
            <a:r>
              <a:rPr lang="fr-FR" sz="1300" dirty="0">
                <a:solidFill>
                  <a:schemeClr val="tx2"/>
                </a:solidFill>
              </a:rPr>
              <a:t>: erreur (car qualité des interventions jugée excellente)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E603631-6C2F-0C20-A6D1-04942EFF3F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56" y="432823"/>
            <a:ext cx="4216015" cy="591129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BF867FF-DC35-B401-9937-898A326E3F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4" y="10450"/>
            <a:ext cx="4339694" cy="486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717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B9878F3-B95A-9F0C-72D7-08CC824A38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2140787"/>
            <a:ext cx="4031755" cy="470092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162F781-7841-5115-4592-243A1039EB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5521" y="25455"/>
            <a:ext cx="4031754" cy="531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39738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AD0EE-01EF-A45A-C344-1434C7A7A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714140B-ABBC-1A8E-C777-81FE125D9195}"/>
              </a:ext>
            </a:extLst>
          </p:cNvPr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86B695-6682-A3E5-439D-BD42822AE5FC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2716FF-AB84-F504-36F0-223B2B49E7E6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497DD7-BC05-F814-54CF-C1FFCE430348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0755EC3-4EEA-B369-6465-B6D173D23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35" y="2132856"/>
            <a:ext cx="4234262" cy="4764709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CAB0A88-701E-322F-19F9-F44E13C363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089" y="17363"/>
            <a:ext cx="3749064" cy="499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97687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FD92EE-E5F6-77D5-BE37-1B7CBC3A7D7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40132C-6BCC-5D5C-5883-D8A59C07A99C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ED4DE-3F8D-9663-B170-876F35969FA6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2EE11B-3706-6A55-0FE1-5E488050CC56}"/>
              </a:ext>
            </a:extLst>
          </p:cNvPr>
          <p:cNvSpPr txBox="1"/>
          <p:nvPr/>
        </p:nvSpPr>
        <p:spPr>
          <a:xfrm>
            <a:off x="283862" y="2734032"/>
            <a:ext cx="8244878" cy="343170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FR" sz="1900" b="1" dirty="0">
                <a:solidFill>
                  <a:schemeClr val="accent6"/>
                </a:solidFill>
              </a:rPr>
              <a:t>Les point d'amélioration du « forum des initiatives » :</a:t>
            </a:r>
          </a:p>
          <a:p>
            <a:pPr algn="just"/>
            <a:r>
              <a:rPr lang="fr-FR" dirty="0"/>
              <a:t> - Heure du midi choisie pour le forum : Peut-être prévoir 30 minutes pour le déjeuner et 1h à 1h30 réservée aux stands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Peu d'interactions avec les professionnels présents sur les stands,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Peu d'informations récupérées, beaucoup de stands relatifs aux secteurs médico-sociaux / mettre de la diversité avec des initiatives sanitaires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Manque d'attractivité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J'ai beaucoup apprécié la participation des usagers eux-mêmes, moins ceux qui s'exprimaient à leur place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Présence de certains intervenants pas tout à fait adaptée à la thématique de journée, mais c'est aussi un moyen d'élargir à la découverte d’entreprises ou prestataires touchant des domaines complémentaires.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C0F5686-1B6C-5C17-35A8-0A5232B3ECAB}"/>
              </a:ext>
            </a:extLst>
          </p:cNvPr>
          <p:cNvSpPr txBox="1"/>
          <p:nvPr/>
        </p:nvSpPr>
        <p:spPr>
          <a:xfrm>
            <a:off x="252573" y="307102"/>
            <a:ext cx="8495730" cy="19697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FR" sz="1900" b="1" dirty="0">
                <a:solidFill>
                  <a:schemeClr val="accent6"/>
                </a:solidFill>
              </a:rPr>
              <a:t>Les points forts du « forum des initiatives » : </a:t>
            </a:r>
          </a:p>
          <a:p>
            <a:endParaRPr lang="fr-FR" sz="1300" dirty="0"/>
          </a:p>
          <a:p>
            <a:pPr marL="285750" indent="-285750" algn="just">
              <a:buFontTx/>
              <a:buChar char="-"/>
            </a:pPr>
            <a:r>
              <a:rPr lang="fr-FR" dirty="0"/>
              <a:t>Diversité des stands et des initiatives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Disponibilité des personnes dans l'échange,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Rencontre de professionnels et partage d'expériences hors temps des tables rondes, </a:t>
            </a:r>
          </a:p>
          <a:p>
            <a:pPr marL="285750" indent="-285750" algn="just">
              <a:buFontTx/>
              <a:buChar char="-"/>
            </a:pPr>
            <a:r>
              <a:rPr lang="fr-FR" dirty="0"/>
              <a:t>Convivialité</a:t>
            </a:r>
            <a:endParaRPr lang="fr-FR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26019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742ABD-4E6A-C178-20BB-CCE8EBDBD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9B9134-C7CD-C103-5060-02E86E665299}"/>
              </a:ext>
            </a:extLst>
          </p:cNvPr>
          <p:cNvSpPr/>
          <p:nvPr/>
        </p:nvSpPr>
        <p:spPr>
          <a:xfrm>
            <a:off x="215516" y="1484784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29DF2A8-BC7A-EC34-6D55-9CBBE428DBC9}"/>
              </a:ext>
            </a:extLst>
          </p:cNvPr>
          <p:cNvSpPr/>
          <p:nvPr/>
        </p:nvSpPr>
        <p:spPr>
          <a:xfrm>
            <a:off x="646548" y="1472565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90788F-B4C7-9800-CF15-B892F21AEE5E}"/>
              </a:ext>
            </a:extLst>
          </p:cNvPr>
          <p:cNvSpPr/>
          <p:nvPr/>
        </p:nvSpPr>
        <p:spPr>
          <a:xfrm>
            <a:off x="431032" y="1703397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8BFED1-2DE2-C14F-E872-9C7ADF62C7C4}"/>
              </a:ext>
            </a:extLst>
          </p:cNvPr>
          <p:cNvSpPr/>
          <p:nvPr/>
        </p:nvSpPr>
        <p:spPr>
          <a:xfrm>
            <a:off x="35335" y="1635571"/>
            <a:ext cx="87129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  <a:p>
            <a:pPr marL="285750" indent="-285750">
              <a:buFontTx/>
              <a:buChar char="-"/>
              <a:tabLst>
                <a:tab pos="265113" algn="l"/>
              </a:tabLst>
            </a:pPr>
            <a:endParaRPr lang="fr-FR" dirty="0"/>
          </a:p>
          <a:p>
            <a:pPr>
              <a:tabLst>
                <a:tab pos="265113" algn="l"/>
              </a:tabLst>
            </a:pP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478BE44-5913-33CF-FFB3-AB15CB837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1095"/>
            <a:ext cx="3779912" cy="529690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2513CBF-6B6A-B47D-189F-D1952D4B65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072" y="0"/>
            <a:ext cx="3888593" cy="628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72321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itre et contenu">
  <a:themeElements>
    <a:clrScheme name="Personnalisé 6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00B050"/>
      </a:accent1>
      <a:accent2>
        <a:srgbClr val="00FF00"/>
      </a:accent2>
      <a:accent3>
        <a:srgbClr val="0000F4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page titre CCOMS">
  <a:themeElements>
    <a:clrScheme name="CCOMS">
      <a:dk1>
        <a:sysClr val="windowText" lastClr="000000"/>
      </a:dk1>
      <a:lt1>
        <a:sysClr val="window" lastClr="FFFFFF"/>
      </a:lt1>
      <a:dk2>
        <a:srgbClr val="0170C9"/>
      </a:dk2>
      <a:lt2>
        <a:srgbClr val="FFFFFF"/>
      </a:lt2>
      <a:accent1>
        <a:srgbClr val="0170C9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COM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Thèm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hème Offic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ts val="625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fr-FR" sz="1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icrosoft YaHei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ts val="625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fr-FR" sz="1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icrosoft YaHei" charset="-122"/>
          </a:defRPr>
        </a:defPPr>
      </a:lstStyle>
    </a:lnDef>
  </a:objectDefaults>
  <a:extraClrSchemeLst>
    <a:extraClrScheme>
      <a:clrScheme name="Thèm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hèm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ARS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4.xml><?xml version="1.0" encoding="utf-8"?>
<a:theme xmlns:a="http://schemas.openxmlformats.org/drawingml/2006/main" name="TEMPLATE_ARS_HAUTS DE FRANCE 16-9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5.xml><?xml version="1.0" encoding="utf-8"?>
<a:theme xmlns:a="http://schemas.openxmlformats.org/drawingml/2006/main" name="2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6.xml><?xml version="1.0" encoding="utf-8"?>
<a:theme xmlns:a="http://schemas.openxmlformats.org/drawingml/2006/main" name="1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7.xml><?xml version="1.0" encoding="utf-8"?>
<a:theme xmlns:a="http://schemas.openxmlformats.org/drawingml/2006/main" name="2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046AEC7F-5DB4-44B6-A50C-9FA15DF61FA5}" vid="{2AF0C4E7-F5AC-4D9E-94F0-C494F2C0CD47}"/>
    </a:ext>
  </a:extLst>
</a:theme>
</file>

<file path=ppt/theme/theme8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046AEC7F-5DB4-44B6-A50C-9FA15DF61FA5}" vid="{2AF0C4E7-F5AC-4D9E-94F0-C494F2C0CD47}"/>
    </a:ext>
  </a:extLst>
</a:theme>
</file>

<file path=ppt/theme/theme9.xml><?xml version="1.0" encoding="utf-8"?>
<a:theme xmlns:a="http://schemas.openxmlformats.org/drawingml/2006/main" name="1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046AEC7F-5DB4-44B6-A50C-9FA15DF61FA5}" vid="{2AF0C4E7-F5AC-4D9E-94F0-C494F2C0CD4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49E98FA17CB45BE2A088D2A3670A0" ma:contentTypeVersion="6" ma:contentTypeDescription="Crée un document." ma:contentTypeScope="" ma:versionID="a0f5221aa7ad443fedb1e4d99fc12f9c">
  <xsd:schema xmlns:xsd="http://www.w3.org/2001/XMLSchema" xmlns:xs="http://www.w3.org/2001/XMLSchema" xmlns:p="http://schemas.microsoft.com/office/2006/metadata/properties" xmlns:ns2="9ebd6d64-8c13-4431-8e61-512bc2282d1a" targetNamespace="http://schemas.microsoft.com/office/2006/metadata/properties" ma:root="true" ma:fieldsID="4e2111efa03fb6fd8d35f70bf218aea2" ns2:_="">
    <xsd:import namespace="9ebd6d64-8c13-4431-8e61-512bc2282d1a"/>
    <xsd:element name="properties">
      <xsd:complexType>
        <xsd:sequence>
          <xsd:element name="documentManagement">
            <xsd:complexType>
              <xsd:all>
                <xsd:element ref="ns2:Th_x00e9_matique" minOccurs="0"/>
                <xsd:element ref="ns2:Date_x0020_du_x0020_document"/>
                <xsd:element ref="ns2:Type_x0020_du_x0020_document" minOccurs="0"/>
                <xsd:element ref="ns2:Annee_x0020_de_x0020_r_x00e9_union" minOccurs="0"/>
                <xsd:element ref="ns2:li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bd6d64-8c13-4431-8e61-512bc2282d1a" elementFormDefault="qualified">
    <xsd:import namespace="http://schemas.microsoft.com/office/2006/documentManagement/types"/>
    <xsd:import namespace="http://schemas.microsoft.com/office/infopath/2007/PartnerControls"/>
    <xsd:element name="Th_x00e9_matique" ma:index="2" nillable="true" ma:displayName="Thématique" ma:internalName="Th_x00e9_matique">
      <xsd:simpleType>
        <xsd:restriction base="dms:Text">
          <xsd:maxLength value="255"/>
        </xsd:restriction>
      </xsd:simpleType>
    </xsd:element>
    <xsd:element name="Date_x0020_du_x0020_document" ma:index="3" ma:displayName="Date du document" ma:format="DateOnly" ma:internalName="Date_x0020_du_x0020_document">
      <xsd:simpleType>
        <xsd:restriction base="dms:DateTime"/>
      </xsd:simpleType>
    </xsd:element>
    <xsd:element name="Type_x0020_du_x0020_document" ma:index="4" nillable="true" ma:displayName="Type du document" ma:format="Dropdown" ma:internalName="Type_x0020_du_x0020_document">
      <xsd:simpleType>
        <xsd:restriction base="dms:Choice">
          <xsd:enumeration value="Note"/>
          <xsd:enumeration value="Courrier"/>
          <xsd:enumeration value="Mail"/>
          <xsd:enumeration value="C.R."/>
          <xsd:enumeration value="P.V."/>
          <xsd:enumeration value="O.D.J."/>
          <xsd:enumeration value="Rapport"/>
          <xsd:enumeration value="Tableau"/>
          <xsd:enumeration value="Texte"/>
          <xsd:enumeration value="Modèle"/>
          <xsd:enumeration value="Guide"/>
          <xsd:enumeration value="Site"/>
        </xsd:restriction>
      </xsd:simpleType>
    </xsd:element>
    <xsd:element name="Annee_x0020_de_x0020_r_x00e9_union" ma:index="5" nillable="true" ma:displayName="Annee de réunion" ma:internalName="Annee_x0020_de_x0020_r_x00e9_union">
      <xsd:simpleType>
        <xsd:restriction base="dms:Text">
          <xsd:maxLength value="4"/>
        </xsd:restriction>
      </xsd:simpleType>
    </xsd:element>
    <xsd:element name="lien" ma:index="6" nillable="true" ma:displayName="lien" ma:format="Hyperlink" ma:internalName="lien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Type de contenu"/>
        <xsd:element ref="dc:title" minOccurs="0" maxOccurs="1" ma:index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e_x0020_du_x0020_document xmlns="9ebd6d64-8c13-4431-8e61-512bc2282d1a"/>
    <Type_x0020_du_x0020_document xmlns="9ebd6d64-8c13-4431-8e61-512bc2282d1a" xsi:nil="true"/>
    <Annee_x0020_de_x0020_r_x00e9_union xmlns="9ebd6d64-8c13-4431-8e61-512bc2282d1a" xsi:nil="true"/>
    <lien xmlns="9ebd6d64-8c13-4431-8e61-512bc2282d1a">
      <Url xsi:nil="true"/>
      <Description xsi:nil="true"/>
    </lien>
    <Th_x00e9_matique xmlns="9ebd6d64-8c13-4431-8e61-512bc2282d1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4D3452-03A7-4A28-B0B6-5AD9C3A101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bd6d64-8c13-4431-8e61-512bc2282d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A7B134-78BD-47BB-9186-0D18A38F4AF0}">
  <ds:schemaRefs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ebd6d64-8c13-4431-8e61-512bc2282d1a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85BFBFD-23C0-4458-9560-B3D9CF5831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ésentation Udapei</Template>
  <TotalTime>18548</TotalTime>
  <Words>850</Words>
  <Application>Microsoft Office PowerPoint</Application>
  <PresentationFormat>Affichage à l'écran (4:3)</PresentationFormat>
  <Paragraphs>210</Paragraphs>
  <Slides>14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1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37" baseType="lpstr">
      <vt:lpstr>Arial</vt:lpstr>
      <vt:lpstr>Bahnschrift SemiLight SemiConde</vt:lpstr>
      <vt:lpstr>Calibri</vt:lpstr>
      <vt:lpstr>Century Gothic</vt:lpstr>
      <vt:lpstr>Franklin Gothic Book</vt:lpstr>
      <vt:lpstr>Franklin Gothic Medium</vt:lpstr>
      <vt:lpstr>Geneva</vt:lpstr>
      <vt:lpstr>Segoe UI</vt:lpstr>
      <vt:lpstr>Times New Roman</vt:lpstr>
      <vt:lpstr>Webdings</vt:lpstr>
      <vt:lpstr>Wingdings</vt:lpstr>
      <vt:lpstr>Wingdings 3</vt:lpstr>
      <vt:lpstr>titre et contenu</vt:lpstr>
      <vt:lpstr>Thème Office</vt:lpstr>
      <vt:lpstr>ThèmeARS</vt:lpstr>
      <vt:lpstr>TEMPLATE_ARS_HAUTS DE FRANCE 16-9</vt:lpstr>
      <vt:lpstr>2_White_FR_PA7711_16x9_OF_v1</vt:lpstr>
      <vt:lpstr>1_White_FR_PA7711_16x9_OF_v1</vt:lpstr>
      <vt:lpstr>2_ANS_THEME STANDARD_V1.0</vt:lpstr>
      <vt:lpstr>ANS_THEME STANDARD_V1.0</vt:lpstr>
      <vt:lpstr>1_ANS_THEME STANDARD_V1.0</vt:lpstr>
      <vt:lpstr>page titre CCOMS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Ma S@nté 2.0</dc:title>
  <dc:creator>Brigitte SION</dc:creator>
  <cp:lastModifiedBy>SCHRYVE, Magalie (ARS-HDF)</cp:lastModifiedBy>
  <cp:revision>670</cp:revision>
  <cp:lastPrinted>2025-01-23T09:51:58Z</cp:lastPrinted>
  <dcterms:created xsi:type="dcterms:W3CDTF">2016-12-13T11:44:23Z</dcterms:created>
  <dcterms:modified xsi:type="dcterms:W3CDTF">2026-05-13T15:1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849E98FA17CB45BE2A088D2A3670A0</vt:lpwstr>
  </property>
  <property fmtid="{D5CDD505-2E9C-101B-9397-08002B2CF9AE}" pid="3" name="_NewReviewCycle">
    <vt:lpwstr/>
  </property>
  <property fmtid="{D5CDD505-2E9C-101B-9397-08002B2CF9AE}" pid="4" name="MSIP_Label_3094c1fb-3db8-4cce-b079-9b022302847f_Enabled">
    <vt:lpwstr>true</vt:lpwstr>
  </property>
  <property fmtid="{D5CDD505-2E9C-101B-9397-08002B2CF9AE}" pid="5" name="MSIP_Label_3094c1fb-3db8-4cce-b079-9b022302847f_SetDate">
    <vt:lpwstr>2026-04-08T15:07:50Z</vt:lpwstr>
  </property>
  <property fmtid="{D5CDD505-2E9C-101B-9397-08002B2CF9AE}" pid="6" name="MSIP_Label_3094c1fb-3db8-4cce-b079-9b022302847f_Method">
    <vt:lpwstr>Standard</vt:lpwstr>
  </property>
  <property fmtid="{D5CDD505-2E9C-101B-9397-08002B2CF9AE}" pid="7" name="MSIP_Label_3094c1fb-3db8-4cce-b079-9b022302847f_Name">
    <vt:lpwstr>[Prod v5] C1 - Standard</vt:lpwstr>
  </property>
  <property fmtid="{D5CDD505-2E9C-101B-9397-08002B2CF9AE}" pid="8" name="MSIP_Label_3094c1fb-3db8-4cce-b079-9b022302847f_SiteId">
    <vt:lpwstr>035e5292-5a25-4509-bb08-a555f7d31a8b</vt:lpwstr>
  </property>
  <property fmtid="{D5CDD505-2E9C-101B-9397-08002B2CF9AE}" pid="9" name="MSIP_Label_3094c1fb-3db8-4cce-b079-9b022302847f_ActionId">
    <vt:lpwstr>54427c65-e2f5-4ef1-bde2-ddd98c77e0ec</vt:lpwstr>
  </property>
  <property fmtid="{D5CDD505-2E9C-101B-9397-08002B2CF9AE}" pid="10" name="MSIP_Label_3094c1fb-3db8-4cce-b079-9b022302847f_ContentBits">
    <vt:lpwstr>0</vt:lpwstr>
  </property>
  <property fmtid="{D5CDD505-2E9C-101B-9397-08002B2CF9AE}" pid="11" name="MSIP_Label_3094c1fb-3db8-4cce-b079-9b022302847f_Tag">
    <vt:lpwstr>10, 3, 0, 1</vt:lpwstr>
  </property>
</Properties>
</file>